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38.xml" ContentType="application/vnd.openxmlformats-officedocument.presentationml.tags+xml"/>
  <Override PartName="/ppt/tags/tag156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45.xml" ContentType="application/vnd.openxmlformats-officedocument.presentationml.tags+xml"/>
  <Override PartName="/ppt/tags/tag163.xml" ContentType="application/vnd.openxmlformats-officedocument.presentationml.tag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tags/tag152.xml" ContentType="application/vnd.openxmlformats-officedocument.presentationml.tags+xml"/>
  <Override PartName="/ppt/slides/slide5.xml" ContentType="application/vnd.openxmlformats-officedocument.presentationml.slide+xml"/>
  <Default Extension="bin" ContentType="application/vnd.openxmlformats-officedocument.oleObject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Default Extension="emf" ContentType="image/x-emf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57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ink/ink1.xml" ContentType="application/inkml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5" r:id="rId2"/>
  </p:sldMasterIdLst>
  <p:notesMasterIdLst>
    <p:notesMasterId r:id="rId10"/>
  </p:notesMasterIdLst>
  <p:handoutMasterIdLst>
    <p:handoutMasterId r:id="rId11"/>
  </p:handoutMasterIdLst>
  <p:sldIdLst>
    <p:sldId id="267" r:id="rId3"/>
    <p:sldId id="262" r:id="rId4"/>
    <p:sldId id="263" r:id="rId5"/>
    <p:sldId id="268" r:id="rId6"/>
    <p:sldId id="269" r:id="rId7"/>
    <p:sldId id="272" r:id="rId8"/>
    <p:sldId id="273" r:id="rId9"/>
  </p:sldIdLst>
  <p:sldSz cx="8961438" cy="6721475"/>
  <p:notesSz cx="6743700" cy="9906000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1794" autoAdjust="0"/>
    <p:restoredTop sz="94684" autoAdjust="0"/>
  </p:normalViewPr>
  <p:slideViewPr>
    <p:cSldViewPr snapToGrid="0" snapToObjects="1">
      <p:cViewPr varScale="1">
        <p:scale>
          <a:sx n="71" d="100"/>
          <a:sy n="71" d="100"/>
        </p:scale>
        <p:origin x="-1470" y="-102"/>
      </p:cViewPr>
      <p:guideLst>
        <p:guide orient="horz" pos="4233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32767" units="in"/>
          <inkml:channel name="Y" type="integer" max="32767" units="in"/>
          <inkml:channel name="F" type="integer" max="32767" units="dev"/>
        </inkml:traceFormat>
        <inkml:channelProperties>
          <inkml:channelProperty channel="X" name="resolution" value="3196.78027" units="1/in"/>
          <inkml:channelProperty channel="Y" name="resolution" value="5041.07666" units="1/in"/>
          <inkml:channelProperty channel="F" name="resolution" value="0" units="1/dev"/>
        </inkml:channelProperties>
      </inkml:inkSource>
      <inkml:timestamp xml:id="ts0" timeString="2013-12-11T05:44:46.222"/>
    </inkml:context>
    <inkml:brush xml:id="br0">
      <inkml:brushProperty name="width" value="0.06667" units="cm"/>
      <inkml:brushProperty name="height" value="0.06667" units="cm"/>
      <inkml:brushProperty name="color" value="#ED1C24"/>
      <inkml:brushProperty name="fitToCurve" value="1"/>
    </inkml:brush>
  </inkml:definitions>
  <inkml:trace contextRef="#ctx0" brushRef="#br0">0 0 0,'0'0'0,"0"0"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16609" y="5171663"/>
            <a:ext cx="5746750" cy="1477328"/>
          </a:xfrm>
        </p:spPr>
        <p:txBody>
          <a:bodyPr/>
          <a:lstStyle/>
          <a:p>
            <a:r>
              <a:rPr lang="en-US" dirty="0" smtClean="0"/>
              <a:t>As we already know,</a:t>
            </a:r>
            <a:r>
              <a:rPr lang="en-US" baseline="0" dirty="0" smtClean="0"/>
              <a:t> the scale of the tragedy is huge.  We need </a:t>
            </a:r>
            <a:r>
              <a:rPr lang="en-US" baseline="0" dirty="0" err="1" smtClean="0"/>
              <a:t>PHP</a:t>
            </a:r>
            <a:r>
              <a:rPr lang="en-US" baseline="0" dirty="0" smtClean="0"/>
              <a:t> 360 </a:t>
            </a:r>
            <a:r>
              <a:rPr lang="en-US" baseline="0" dirty="0" err="1" smtClean="0"/>
              <a:t>Bn</a:t>
            </a:r>
            <a:r>
              <a:rPr lang="en-US" baseline="0" dirty="0" smtClean="0"/>
              <a:t> to rebuild the affected areas.</a:t>
            </a:r>
          </a:p>
          <a:p>
            <a:r>
              <a:rPr lang="en-US" baseline="0" dirty="0" smtClean="0"/>
              <a:t>So far, only a small percentage has been allocated by the government – even though most of the damaged property is privately-owne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96458" y="9526072"/>
            <a:ext cx="85281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AU" smtClean="0"/>
              <a:pPr>
                <a:defRPr/>
              </a:pPr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xmlns="" val="993448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516163" y="5171219"/>
            <a:ext cx="5746500" cy="492443"/>
          </a:xfrm>
          <a:noFill/>
        </p:spPr>
        <p:txBody>
          <a:bodyPr/>
          <a:lstStyle/>
          <a:p>
            <a:pPr defTabSz="893714">
              <a:spcBef>
                <a:spcPct val="0"/>
              </a:spcBef>
              <a:buClr>
                <a:schemeClr val="tx2"/>
              </a:buClr>
            </a:pPr>
            <a:r>
              <a:rPr lang="en-US" dirty="0" smtClean="0"/>
              <a:t>We are nearly complete in identifying development sponsors</a:t>
            </a:r>
          </a:p>
          <a:p>
            <a:pPr defTabSz="893714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9220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6118285" y="9526072"/>
            <a:ext cx="16345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9E208A88-F680-471D-9EF8-8585244D3878}" type="slidenum">
              <a:rPr lang="en-AU"/>
              <a:pPr/>
              <a:t>4</a:t>
            </a:fld>
            <a:endParaRPr lang="en-A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image" Target="../media/image7.png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7.xml"/><Relationship Id="rId11" Type="http://schemas.openxmlformats.org/officeDocument/2006/relationships/image" Target="../media/image5.jpeg"/><Relationship Id="rId5" Type="http://schemas.openxmlformats.org/officeDocument/2006/relationships/tags" Target="../tags/tag36.xml"/><Relationship Id="rId15" Type="http://schemas.openxmlformats.org/officeDocument/2006/relationships/image" Target="../media/image9.jpeg"/><Relationship Id="rId10" Type="http://schemas.openxmlformats.org/officeDocument/2006/relationships/oleObject" Target="../embeddings/oleObject3.bin"/><Relationship Id="rId4" Type="http://schemas.openxmlformats.org/officeDocument/2006/relationships/tags" Target="../tags/tag35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baseline="0" noProof="0" dirty="0" smtClean="0"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3598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smtClean="0">
                <a:latin typeface="+mn-lt"/>
                <a:ea typeface="Arial Unicode MS" pitchFamily="34" charset="-128"/>
                <a:cs typeface="Arial Unicode MS" pitchFamily="34" charset="-128"/>
              </a:rPr>
              <a:t>Last Modified 3/11/2014 6:02 PM Malay Peninsula Standard Time</a:t>
            </a:r>
            <a:endParaRPr lang="en-US" sz="900" baseline="0" noProof="0" dirty="0" smtClean="0"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3" y="655638"/>
            <a:ext cx="365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aseline="0" noProof="0" dirty="0" smtClean="0">
                <a:latin typeface="+mn-lt"/>
                <a:ea typeface="Arial Unicode MS" pitchFamily="34" charset="-128"/>
                <a:cs typeface="Arial Unicode MS" pitchFamily="34" charset="-128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0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xmlns="" val="2755973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18" name="think-cell Slide" r:id="rId10" imgW="360" imgH="360" progId="">
              <p:embed/>
            </p:oleObj>
          </a:graphicData>
        </a:graphic>
      </p:graphicFrame>
      <p:sp>
        <p:nvSpPr>
          <p:cNvPr id="20" name="Rectangle 19"/>
          <p:cNvSpPr/>
          <p:nvPr userDrawn="1">
            <p:custDataLst>
              <p:tags r:id="rId2"/>
            </p:custDataLst>
          </p:nvPr>
        </p:nvSpPr>
        <p:spPr bwMode="ltGray">
          <a:xfrm>
            <a:off x="0" y="3234680"/>
            <a:ext cx="8961438" cy="2159363"/>
          </a:xfrm>
          <a:prstGeom prst="rect">
            <a:avLst/>
          </a:prstGeom>
          <a:solidFill>
            <a:srgbClr val="060A6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000000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11" cstate="print">
            <a:clrChange>
              <a:clrFrom>
                <a:srgbClr val="F7F7F5"/>
              </a:clrFrom>
              <a:clrTo>
                <a:srgbClr val="F7F7F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233" t="13095" b="10463"/>
          <a:stretch/>
        </p:blipFill>
        <p:spPr>
          <a:xfrm>
            <a:off x="3167084" y="252623"/>
            <a:ext cx="2627270" cy="2658344"/>
          </a:xfrm>
          <a:prstGeom prst="rect">
            <a:avLst/>
          </a:prstGeom>
        </p:spPr>
      </p:pic>
      <p:sp>
        <p:nvSpPr>
          <p:cNvPr id="22" name="Rectangle 21"/>
          <p:cNvSpPr/>
          <p:nvPr userDrawn="1">
            <p:custDataLst>
              <p:tags r:id="rId4"/>
            </p:custDataLst>
          </p:nvPr>
        </p:nvSpPr>
        <p:spPr>
          <a:xfrm>
            <a:off x="0" y="5382752"/>
            <a:ext cx="8961438" cy="71090"/>
          </a:xfrm>
          <a:prstGeom prst="rect">
            <a:avLst/>
          </a:prstGeom>
          <a:solidFill>
            <a:srgbClr val="EAAE2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 userDrawn="1">
            <p:custDataLst>
              <p:tags r:id="rId5"/>
            </p:custDataLst>
          </p:nvPr>
        </p:nvSpPr>
        <p:spPr>
          <a:xfrm>
            <a:off x="0" y="3163590"/>
            <a:ext cx="8961438" cy="71090"/>
          </a:xfrm>
          <a:prstGeom prst="rect">
            <a:avLst/>
          </a:prstGeom>
          <a:solidFill>
            <a:srgbClr val="EAAE2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>
            <p:custDataLst>
              <p:tags r:id="rId6"/>
            </p:custDataLst>
          </p:nvPr>
        </p:nvGrpSpPr>
        <p:grpSpPr bwMode="auto">
          <a:xfrm>
            <a:off x="2012950" y="4775695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  <p:custDataLst>
              <p:tags r:id="rId7"/>
            </p:custDataLst>
          </p:nvPr>
        </p:nvSpPr>
        <p:spPr>
          <a:xfrm>
            <a:off x="1340046" y="3359084"/>
            <a:ext cx="6281346" cy="430887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  <p:custDataLst>
              <p:tags r:id="rId8"/>
            </p:custDataLst>
          </p:nvPr>
        </p:nvSpPr>
        <p:spPr>
          <a:xfrm>
            <a:off x="1340046" y="4175111"/>
            <a:ext cx="6281346" cy="215444"/>
          </a:xfrm>
        </p:spPr>
        <p:txBody>
          <a:bodyPr wrap="square">
            <a:spAutoFit/>
          </a:bodyPr>
          <a:lstStyle>
            <a:lvl1pPr algn="ctr">
              <a:defRPr sz="140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6450" name="Picture 66"/>
          <p:cNvPicPr>
            <a:picLocks noChangeAspect="1" noChangeArrowheads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207" t="8187" b="13179"/>
          <a:stretch/>
        </p:blipFill>
        <p:spPr bwMode="auto">
          <a:xfrm>
            <a:off x="3175" y="5486400"/>
            <a:ext cx="2216147" cy="123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452" name="Picture 68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449"/>
          <a:stretch/>
        </p:blipFill>
        <p:spPr bwMode="auto">
          <a:xfrm>
            <a:off x="2274885" y="5486400"/>
            <a:ext cx="2196230" cy="1235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455" name="Picture 71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2769"/>
          <a:stretch/>
        </p:blipFill>
        <p:spPr bwMode="auto">
          <a:xfrm>
            <a:off x="4526678" y="5486399"/>
            <a:ext cx="2262982" cy="1235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456" name="Picture 72"/>
          <p:cNvPicPr>
            <a:picLocks noChangeAspect="1" noChangeArrowheads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4914" b="15423"/>
          <a:stretch/>
        </p:blipFill>
        <p:spPr bwMode="auto">
          <a:xfrm>
            <a:off x="6845222" y="5486400"/>
            <a:ext cx="2116216" cy="123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048252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80506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86119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971398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xmlns="" val="770855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277F7AEA-1006-4EF1-A7BD-E13EC2A2082F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8307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471561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xmlns="" val="2985640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26.xml"/><Relationship Id="rId7" Type="http://schemas.openxmlformats.org/officeDocument/2006/relationships/slideLayout" Target="../slideLayouts/slideLayout9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oleObject" Target="../embeddings/oleObject2.bin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slideLayout" Target="../slideLayouts/slideLayout6.xml"/><Relationship Id="rId9" Type="http://schemas.openxmlformats.org/officeDocument/2006/relationships/vmlDrawing" Target="../drawings/vmlDrawing2.v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22757688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24" name="think-cell Slide" r:id="rId17" imgW="360" imgH="360" progId="">
              <p:embed/>
            </p:oleObj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7766279" y="1940591"/>
            <a:ext cx="225061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Last Modified 3/11/2014 6:02 PM Malay Peninsula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768958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 smtClean="0">
                <a:latin typeface="+mn-lt"/>
                <a:ea typeface="+mn-ea"/>
              </a:rPr>
              <a:t>Printed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8520598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398" name="think-cell Slide" r:id="rId28" imgW="360" imgH="360" progId="">
              <p:embed/>
            </p:oleObj>
          </a:graphicData>
        </a:graphic>
      </p:graphicFrame>
      <p:grpSp>
        <p:nvGrpSpPr>
          <p:cNvPr id="22" name="Group 21"/>
          <p:cNvGrpSpPr/>
          <p:nvPr/>
        </p:nvGrpSpPr>
        <p:grpSpPr bwMode="ltGray">
          <a:xfrm>
            <a:off x="0" y="6248507"/>
            <a:ext cx="8961438" cy="479927"/>
            <a:chOff x="0" y="6248507"/>
            <a:chExt cx="8961438" cy="479927"/>
          </a:xfrm>
        </p:grpSpPr>
        <p:sp>
          <p:nvSpPr>
            <p:cNvPr id="23" name="Rectangle 22"/>
            <p:cNvSpPr/>
            <p:nvPr/>
          </p:nvSpPr>
          <p:spPr bwMode="ltGray">
            <a:xfrm>
              <a:off x="0" y="6315342"/>
              <a:ext cx="8961438" cy="413092"/>
            </a:xfrm>
            <a:prstGeom prst="rect">
              <a:avLst/>
            </a:prstGeom>
            <a:solidFill>
              <a:srgbClr val="060A6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 bwMode="ltGray">
            <a:xfrm>
              <a:off x="0" y="6248507"/>
              <a:ext cx="8961438" cy="71090"/>
            </a:xfrm>
            <a:prstGeom prst="rect">
              <a:avLst/>
            </a:prstGeom>
            <a:solidFill>
              <a:srgbClr val="EAAE2A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42025"/>
            <a:ext cx="8548687" cy="546100"/>
            <a:chOff x="75" y="3806"/>
            <a:chExt cx="5385" cy="34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0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222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dirty="0">
                  <a:solidFill>
                    <a:srgbClr val="FFFFFF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381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86625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37" y="286625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05" y="286625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60A6D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70" y="286625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60A6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66" name="McK 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8194994" y="1951038"/>
            <a:ext cx="254000" cy="254000"/>
            <a:chOff x="1600" y="1600"/>
            <a:chExt cx="160" cy="160"/>
          </a:xfrm>
        </p:grpSpPr>
        <p:sp>
          <p:nvSpPr>
            <p:cNvPr id="67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8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02830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64.xml"/><Relationship Id="rId117" Type="http://schemas.openxmlformats.org/officeDocument/2006/relationships/tags" Target="../tags/tag155.xml"/><Relationship Id="rId21" Type="http://schemas.openxmlformats.org/officeDocument/2006/relationships/tags" Target="../tags/tag59.xml"/><Relationship Id="rId42" Type="http://schemas.openxmlformats.org/officeDocument/2006/relationships/tags" Target="../tags/tag80.xml"/><Relationship Id="rId47" Type="http://schemas.openxmlformats.org/officeDocument/2006/relationships/tags" Target="../tags/tag85.xml"/><Relationship Id="rId63" Type="http://schemas.openxmlformats.org/officeDocument/2006/relationships/tags" Target="../tags/tag101.xml"/><Relationship Id="rId68" Type="http://schemas.openxmlformats.org/officeDocument/2006/relationships/tags" Target="../tags/tag106.xml"/><Relationship Id="rId84" Type="http://schemas.openxmlformats.org/officeDocument/2006/relationships/tags" Target="../tags/tag122.xml"/><Relationship Id="rId89" Type="http://schemas.openxmlformats.org/officeDocument/2006/relationships/tags" Target="../tags/tag127.xml"/><Relationship Id="rId112" Type="http://schemas.openxmlformats.org/officeDocument/2006/relationships/tags" Target="../tags/tag150.xml"/><Relationship Id="rId16" Type="http://schemas.openxmlformats.org/officeDocument/2006/relationships/tags" Target="../tags/tag54.xml"/><Relationship Id="rId107" Type="http://schemas.openxmlformats.org/officeDocument/2006/relationships/tags" Target="../tags/tag145.xml"/><Relationship Id="rId11" Type="http://schemas.openxmlformats.org/officeDocument/2006/relationships/tags" Target="../tags/tag49.xml"/><Relationship Id="rId32" Type="http://schemas.openxmlformats.org/officeDocument/2006/relationships/tags" Target="../tags/tag70.xml"/><Relationship Id="rId37" Type="http://schemas.openxmlformats.org/officeDocument/2006/relationships/tags" Target="../tags/tag75.xml"/><Relationship Id="rId53" Type="http://schemas.openxmlformats.org/officeDocument/2006/relationships/tags" Target="../tags/tag91.xml"/><Relationship Id="rId58" Type="http://schemas.openxmlformats.org/officeDocument/2006/relationships/tags" Target="../tags/tag96.xml"/><Relationship Id="rId74" Type="http://schemas.openxmlformats.org/officeDocument/2006/relationships/tags" Target="../tags/tag112.xml"/><Relationship Id="rId79" Type="http://schemas.openxmlformats.org/officeDocument/2006/relationships/tags" Target="../tags/tag117.xml"/><Relationship Id="rId102" Type="http://schemas.openxmlformats.org/officeDocument/2006/relationships/tags" Target="../tags/tag140.xml"/><Relationship Id="rId123" Type="http://schemas.openxmlformats.org/officeDocument/2006/relationships/tags" Target="../tags/tag161.xml"/><Relationship Id="rId128" Type="http://schemas.openxmlformats.org/officeDocument/2006/relationships/image" Target="../media/image14.emf"/><Relationship Id="rId5" Type="http://schemas.openxmlformats.org/officeDocument/2006/relationships/tags" Target="../tags/tag43.xml"/><Relationship Id="rId90" Type="http://schemas.openxmlformats.org/officeDocument/2006/relationships/tags" Target="../tags/tag128.xml"/><Relationship Id="rId95" Type="http://schemas.openxmlformats.org/officeDocument/2006/relationships/tags" Target="../tags/tag133.xml"/><Relationship Id="rId19" Type="http://schemas.openxmlformats.org/officeDocument/2006/relationships/tags" Target="../tags/tag57.xml"/><Relationship Id="rId14" Type="http://schemas.openxmlformats.org/officeDocument/2006/relationships/tags" Target="../tags/tag52.xml"/><Relationship Id="rId22" Type="http://schemas.openxmlformats.org/officeDocument/2006/relationships/tags" Target="../tags/tag60.xml"/><Relationship Id="rId27" Type="http://schemas.openxmlformats.org/officeDocument/2006/relationships/tags" Target="../tags/tag65.xml"/><Relationship Id="rId30" Type="http://schemas.openxmlformats.org/officeDocument/2006/relationships/tags" Target="../tags/tag68.xml"/><Relationship Id="rId35" Type="http://schemas.openxmlformats.org/officeDocument/2006/relationships/tags" Target="../tags/tag73.xml"/><Relationship Id="rId43" Type="http://schemas.openxmlformats.org/officeDocument/2006/relationships/tags" Target="../tags/tag81.xml"/><Relationship Id="rId48" Type="http://schemas.openxmlformats.org/officeDocument/2006/relationships/tags" Target="../tags/tag86.xml"/><Relationship Id="rId56" Type="http://schemas.openxmlformats.org/officeDocument/2006/relationships/tags" Target="../tags/tag94.xml"/><Relationship Id="rId64" Type="http://schemas.openxmlformats.org/officeDocument/2006/relationships/tags" Target="../tags/tag102.xml"/><Relationship Id="rId69" Type="http://schemas.openxmlformats.org/officeDocument/2006/relationships/tags" Target="../tags/tag107.xml"/><Relationship Id="rId77" Type="http://schemas.openxmlformats.org/officeDocument/2006/relationships/tags" Target="../tags/tag115.xml"/><Relationship Id="rId100" Type="http://schemas.openxmlformats.org/officeDocument/2006/relationships/tags" Target="../tags/tag138.xml"/><Relationship Id="rId105" Type="http://schemas.openxmlformats.org/officeDocument/2006/relationships/tags" Target="../tags/tag143.xml"/><Relationship Id="rId113" Type="http://schemas.openxmlformats.org/officeDocument/2006/relationships/tags" Target="../tags/tag151.xml"/><Relationship Id="rId118" Type="http://schemas.openxmlformats.org/officeDocument/2006/relationships/tags" Target="../tags/tag156.xml"/><Relationship Id="rId126" Type="http://schemas.openxmlformats.org/officeDocument/2006/relationships/oleObject" Target="../embeddings/oleObject5.bin"/><Relationship Id="rId8" Type="http://schemas.openxmlformats.org/officeDocument/2006/relationships/tags" Target="../tags/tag46.xml"/><Relationship Id="rId51" Type="http://schemas.openxmlformats.org/officeDocument/2006/relationships/tags" Target="../tags/tag89.xml"/><Relationship Id="rId72" Type="http://schemas.openxmlformats.org/officeDocument/2006/relationships/tags" Target="../tags/tag110.xml"/><Relationship Id="rId80" Type="http://schemas.openxmlformats.org/officeDocument/2006/relationships/tags" Target="../tags/tag118.xml"/><Relationship Id="rId85" Type="http://schemas.openxmlformats.org/officeDocument/2006/relationships/tags" Target="../tags/tag123.xml"/><Relationship Id="rId93" Type="http://schemas.openxmlformats.org/officeDocument/2006/relationships/tags" Target="../tags/tag131.xml"/><Relationship Id="rId98" Type="http://schemas.openxmlformats.org/officeDocument/2006/relationships/tags" Target="../tags/tag136.xml"/><Relationship Id="rId121" Type="http://schemas.openxmlformats.org/officeDocument/2006/relationships/tags" Target="../tags/tag159.xml"/><Relationship Id="rId3" Type="http://schemas.openxmlformats.org/officeDocument/2006/relationships/tags" Target="../tags/tag41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tags" Target="../tags/tag63.xml"/><Relationship Id="rId33" Type="http://schemas.openxmlformats.org/officeDocument/2006/relationships/tags" Target="../tags/tag71.xml"/><Relationship Id="rId38" Type="http://schemas.openxmlformats.org/officeDocument/2006/relationships/tags" Target="../tags/tag76.xml"/><Relationship Id="rId46" Type="http://schemas.openxmlformats.org/officeDocument/2006/relationships/tags" Target="../tags/tag84.xml"/><Relationship Id="rId59" Type="http://schemas.openxmlformats.org/officeDocument/2006/relationships/tags" Target="../tags/tag97.xml"/><Relationship Id="rId67" Type="http://schemas.openxmlformats.org/officeDocument/2006/relationships/tags" Target="../tags/tag105.xml"/><Relationship Id="rId103" Type="http://schemas.openxmlformats.org/officeDocument/2006/relationships/tags" Target="../tags/tag141.xml"/><Relationship Id="rId108" Type="http://schemas.openxmlformats.org/officeDocument/2006/relationships/tags" Target="../tags/tag146.xml"/><Relationship Id="rId116" Type="http://schemas.openxmlformats.org/officeDocument/2006/relationships/tags" Target="../tags/tag154.xml"/><Relationship Id="rId124" Type="http://schemas.openxmlformats.org/officeDocument/2006/relationships/slideLayout" Target="../slideLayouts/slideLayout4.xml"/><Relationship Id="rId129" Type="http://schemas.openxmlformats.org/officeDocument/2006/relationships/image" Target="../media/image15.png"/><Relationship Id="rId20" Type="http://schemas.openxmlformats.org/officeDocument/2006/relationships/tags" Target="../tags/tag58.xml"/><Relationship Id="rId41" Type="http://schemas.openxmlformats.org/officeDocument/2006/relationships/tags" Target="../tags/tag79.xml"/><Relationship Id="rId54" Type="http://schemas.openxmlformats.org/officeDocument/2006/relationships/tags" Target="../tags/tag92.xml"/><Relationship Id="rId62" Type="http://schemas.openxmlformats.org/officeDocument/2006/relationships/tags" Target="../tags/tag100.xml"/><Relationship Id="rId70" Type="http://schemas.openxmlformats.org/officeDocument/2006/relationships/tags" Target="../tags/tag108.xml"/><Relationship Id="rId75" Type="http://schemas.openxmlformats.org/officeDocument/2006/relationships/tags" Target="../tags/tag113.xml"/><Relationship Id="rId83" Type="http://schemas.openxmlformats.org/officeDocument/2006/relationships/tags" Target="../tags/tag121.xml"/><Relationship Id="rId88" Type="http://schemas.openxmlformats.org/officeDocument/2006/relationships/tags" Target="../tags/tag126.xml"/><Relationship Id="rId91" Type="http://schemas.openxmlformats.org/officeDocument/2006/relationships/tags" Target="../tags/tag129.xml"/><Relationship Id="rId96" Type="http://schemas.openxmlformats.org/officeDocument/2006/relationships/tags" Target="../tags/tag134.xml"/><Relationship Id="rId111" Type="http://schemas.openxmlformats.org/officeDocument/2006/relationships/tags" Target="../tags/tag14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4.xml"/><Relationship Id="rId15" Type="http://schemas.openxmlformats.org/officeDocument/2006/relationships/tags" Target="../tags/tag53.xml"/><Relationship Id="rId23" Type="http://schemas.openxmlformats.org/officeDocument/2006/relationships/tags" Target="../tags/tag61.xml"/><Relationship Id="rId28" Type="http://schemas.openxmlformats.org/officeDocument/2006/relationships/tags" Target="../tags/tag66.xml"/><Relationship Id="rId36" Type="http://schemas.openxmlformats.org/officeDocument/2006/relationships/tags" Target="../tags/tag74.xml"/><Relationship Id="rId49" Type="http://schemas.openxmlformats.org/officeDocument/2006/relationships/tags" Target="../tags/tag87.xml"/><Relationship Id="rId57" Type="http://schemas.openxmlformats.org/officeDocument/2006/relationships/tags" Target="../tags/tag95.xml"/><Relationship Id="rId106" Type="http://schemas.openxmlformats.org/officeDocument/2006/relationships/tags" Target="../tags/tag144.xml"/><Relationship Id="rId114" Type="http://schemas.openxmlformats.org/officeDocument/2006/relationships/tags" Target="../tags/tag152.xml"/><Relationship Id="rId119" Type="http://schemas.openxmlformats.org/officeDocument/2006/relationships/tags" Target="../tags/tag157.xml"/><Relationship Id="rId127" Type="http://schemas.openxmlformats.org/officeDocument/2006/relationships/oleObject" Target="../embeddings/oleObject6.bin"/><Relationship Id="rId10" Type="http://schemas.openxmlformats.org/officeDocument/2006/relationships/tags" Target="../tags/tag48.xml"/><Relationship Id="rId31" Type="http://schemas.openxmlformats.org/officeDocument/2006/relationships/tags" Target="../tags/tag69.xml"/><Relationship Id="rId44" Type="http://schemas.openxmlformats.org/officeDocument/2006/relationships/tags" Target="../tags/tag82.xml"/><Relationship Id="rId52" Type="http://schemas.openxmlformats.org/officeDocument/2006/relationships/tags" Target="../tags/tag90.xml"/><Relationship Id="rId60" Type="http://schemas.openxmlformats.org/officeDocument/2006/relationships/tags" Target="../tags/tag98.xml"/><Relationship Id="rId65" Type="http://schemas.openxmlformats.org/officeDocument/2006/relationships/tags" Target="../tags/tag103.xml"/><Relationship Id="rId73" Type="http://schemas.openxmlformats.org/officeDocument/2006/relationships/tags" Target="../tags/tag111.xml"/><Relationship Id="rId78" Type="http://schemas.openxmlformats.org/officeDocument/2006/relationships/tags" Target="../tags/tag116.xml"/><Relationship Id="rId81" Type="http://schemas.openxmlformats.org/officeDocument/2006/relationships/tags" Target="../tags/tag119.xml"/><Relationship Id="rId86" Type="http://schemas.openxmlformats.org/officeDocument/2006/relationships/tags" Target="../tags/tag124.xml"/><Relationship Id="rId94" Type="http://schemas.openxmlformats.org/officeDocument/2006/relationships/tags" Target="../tags/tag132.xml"/><Relationship Id="rId99" Type="http://schemas.openxmlformats.org/officeDocument/2006/relationships/tags" Target="../tags/tag137.xml"/><Relationship Id="rId101" Type="http://schemas.openxmlformats.org/officeDocument/2006/relationships/tags" Target="../tags/tag139.xml"/><Relationship Id="rId122" Type="http://schemas.openxmlformats.org/officeDocument/2006/relationships/tags" Target="../tags/tag160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39" Type="http://schemas.openxmlformats.org/officeDocument/2006/relationships/tags" Target="../tags/tag77.xml"/><Relationship Id="rId109" Type="http://schemas.openxmlformats.org/officeDocument/2006/relationships/tags" Target="../tags/tag147.xml"/><Relationship Id="rId34" Type="http://schemas.openxmlformats.org/officeDocument/2006/relationships/tags" Target="../tags/tag72.xml"/><Relationship Id="rId50" Type="http://schemas.openxmlformats.org/officeDocument/2006/relationships/tags" Target="../tags/tag88.xml"/><Relationship Id="rId55" Type="http://schemas.openxmlformats.org/officeDocument/2006/relationships/tags" Target="../tags/tag93.xml"/><Relationship Id="rId76" Type="http://schemas.openxmlformats.org/officeDocument/2006/relationships/tags" Target="../tags/tag114.xml"/><Relationship Id="rId97" Type="http://schemas.openxmlformats.org/officeDocument/2006/relationships/tags" Target="../tags/tag135.xml"/><Relationship Id="rId104" Type="http://schemas.openxmlformats.org/officeDocument/2006/relationships/tags" Target="../tags/tag142.xml"/><Relationship Id="rId120" Type="http://schemas.openxmlformats.org/officeDocument/2006/relationships/tags" Target="../tags/tag158.xml"/><Relationship Id="rId125" Type="http://schemas.openxmlformats.org/officeDocument/2006/relationships/notesSlide" Target="../notesSlides/notesSlide1.xml"/><Relationship Id="rId7" Type="http://schemas.openxmlformats.org/officeDocument/2006/relationships/tags" Target="../tags/tag45.xml"/><Relationship Id="rId71" Type="http://schemas.openxmlformats.org/officeDocument/2006/relationships/tags" Target="../tags/tag109.xml"/><Relationship Id="rId92" Type="http://schemas.openxmlformats.org/officeDocument/2006/relationships/tags" Target="../tags/tag130.xml"/><Relationship Id="rId2" Type="http://schemas.openxmlformats.org/officeDocument/2006/relationships/tags" Target="../tags/tag40.xml"/><Relationship Id="rId29" Type="http://schemas.openxmlformats.org/officeDocument/2006/relationships/tags" Target="../tags/tag67.xml"/><Relationship Id="rId24" Type="http://schemas.openxmlformats.org/officeDocument/2006/relationships/tags" Target="../tags/tag62.xml"/><Relationship Id="rId40" Type="http://schemas.openxmlformats.org/officeDocument/2006/relationships/tags" Target="../tags/tag78.xml"/><Relationship Id="rId45" Type="http://schemas.openxmlformats.org/officeDocument/2006/relationships/tags" Target="../tags/tag83.xml"/><Relationship Id="rId66" Type="http://schemas.openxmlformats.org/officeDocument/2006/relationships/tags" Target="../tags/tag104.xml"/><Relationship Id="rId87" Type="http://schemas.openxmlformats.org/officeDocument/2006/relationships/tags" Target="../tags/tag125.xml"/><Relationship Id="rId110" Type="http://schemas.openxmlformats.org/officeDocument/2006/relationships/tags" Target="../tags/tag148.xml"/><Relationship Id="rId115" Type="http://schemas.openxmlformats.org/officeDocument/2006/relationships/tags" Target="../tags/tag153.xml"/><Relationship Id="rId61" Type="http://schemas.openxmlformats.org/officeDocument/2006/relationships/tags" Target="../tags/tag99.xml"/><Relationship Id="rId82" Type="http://schemas.openxmlformats.org/officeDocument/2006/relationships/tags" Target="../tags/tag1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oleObject" Target="../embeddings/oleObject7.bin"/><Relationship Id="rId7" Type="http://schemas.openxmlformats.org/officeDocument/2006/relationships/customXml" Target="../ink/ink1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jpeg"/><Relationship Id="rId18" Type="http://schemas.openxmlformats.org/officeDocument/2006/relationships/image" Target="../media/image31.jpe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34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jpe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29.gif"/><Relationship Id="rId20" Type="http://schemas.openxmlformats.org/officeDocument/2006/relationships/image" Target="../media/image33.jpe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jpeg"/><Relationship Id="rId10" Type="http://schemas.openxmlformats.org/officeDocument/2006/relationships/image" Target="../media/image23.png"/><Relationship Id="rId19" Type="http://schemas.openxmlformats.org/officeDocument/2006/relationships/image" Target="../media/image32.jpeg"/><Relationship Id="rId4" Type="http://schemas.openxmlformats.org/officeDocument/2006/relationships/oleObject" Target="../embeddings/oleObject8.bin"/><Relationship Id="rId9" Type="http://schemas.openxmlformats.org/officeDocument/2006/relationships/image" Target="../media/image22.png"/><Relationship Id="rId14" Type="http://schemas.openxmlformats.org/officeDocument/2006/relationships/image" Target="../media/image27.jpeg"/><Relationship Id="rId22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1340046" y="3359084"/>
            <a:ext cx="6281346" cy="861774"/>
          </a:xfrm>
        </p:spPr>
        <p:txBody>
          <a:bodyPr/>
          <a:lstStyle/>
          <a:p>
            <a:r>
              <a:rPr lang="da-DK" dirty="0" smtClean="0"/>
              <a:t>Office of the </a:t>
            </a:r>
            <a:r>
              <a:rPr lang="da-DK" dirty="0" err="1" smtClean="0"/>
              <a:t>Presidential</a:t>
            </a:r>
            <a:r>
              <a:rPr lang="da-DK" dirty="0" smtClean="0"/>
              <a:t> Assistant for Rehabilitation and Recovery</a:t>
            </a:r>
            <a:endParaRPr lang="da-DK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1340046" y="4385380"/>
            <a:ext cx="6281346" cy="215444"/>
          </a:xfrm>
        </p:spPr>
        <p:txBody>
          <a:bodyPr/>
          <a:lstStyle/>
          <a:p>
            <a:r>
              <a:rPr lang="da-DK" dirty="0" smtClean="0"/>
              <a:t>Pacific </a:t>
            </a:r>
            <a:r>
              <a:rPr lang="da-DK" dirty="0" err="1" smtClean="0"/>
              <a:t>Cities</a:t>
            </a:r>
            <a:r>
              <a:rPr lang="da-DK" dirty="0" smtClean="0"/>
              <a:t> </a:t>
            </a:r>
            <a:r>
              <a:rPr lang="da-DK" dirty="0" err="1" smtClean="0"/>
              <a:t>Sustainability</a:t>
            </a:r>
            <a:r>
              <a:rPr lang="da-DK" dirty="0" smtClean="0"/>
              <a:t> </a:t>
            </a:r>
            <a:r>
              <a:rPr lang="da-DK" dirty="0" err="1" smtClean="0"/>
              <a:t>Initiative</a:t>
            </a:r>
            <a:r>
              <a:rPr lang="da-DK" dirty="0" smtClean="0"/>
              <a:t> Second </a:t>
            </a:r>
            <a:r>
              <a:rPr lang="da-DK" dirty="0" err="1" smtClean="0"/>
              <a:t>Annual</a:t>
            </a:r>
            <a:r>
              <a:rPr lang="da-DK" dirty="0" smtClean="0"/>
              <a:t> Forum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xmlns="" val="2950645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9352272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1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73" y="230188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1"/>
            <a:r>
              <a:rPr lang="en-US" dirty="0"/>
              <a:t>Typhoon Yolanda left a trail of destruction across Central </a:t>
            </a:r>
            <a:r>
              <a:rPr lang="en-US" dirty="0" smtClean="0"/>
              <a:t>Philippine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 bwMode="gray">
          <a:xfrm>
            <a:off x="599932" y="678222"/>
            <a:ext cx="7656798" cy="5467199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342" tIns="45672" rIns="91342" bIns="45672" anchor="ctr"/>
          <a:lstStyle/>
          <a:p>
            <a:endParaRPr lang="en-US" dirty="0" err="1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4" name="Picture 3" descr="replaced_by_168971_TC-2013-000139-PHL_snapshot_131207.pdf - Adobe Acrobat Pro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2623" t="630" r="2426" b="953"/>
          <a:stretch/>
        </p:blipFill>
        <p:spPr>
          <a:xfrm>
            <a:off x="656441" y="738461"/>
            <a:ext cx="7543801" cy="5346700"/>
          </a:xfrm>
          <a:prstGeom prst="rect">
            <a:avLst/>
          </a:prstGeom>
        </p:spPr>
      </p:pic>
      <p:sp>
        <p:nvSpPr>
          <p:cNvPr id="10" name="McK 5. Source"/>
          <p:cNvSpPr>
            <a:spLocks noChangeArrowheads="1"/>
          </p:cNvSpPr>
          <p:nvPr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8954" indent="-608954" defTabSz="894400">
              <a:tabLst>
                <a:tab pos="612125" algn="l"/>
              </a:tabLst>
            </a:pPr>
            <a:r>
              <a:rPr lang="en-US" sz="1000" dirty="0">
                <a:latin typeface="+mn-lt"/>
              </a:rPr>
              <a:t>SOURCE: </a:t>
            </a:r>
            <a:r>
              <a:rPr lang="en-US" sz="1000" dirty="0" err="1">
                <a:latin typeface="+mn-lt"/>
              </a:rPr>
              <a:t>OCHA</a:t>
            </a:r>
            <a:endParaRPr lang="en-US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46960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3746681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544" name="think-cell Slide" r:id="rId126" imgW="360" imgH="360" progId="">
              <p:embed/>
            </p:oleObj>
          </a:graphicData>
        </a:graphic>
      </p:graphicFrame>
      <p:sp>
        <p:nvSpPr>
          <p:cNvPr id="52" name="Rectangle 51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 b="1" dirty="0" err="1">
              <a:solidFill>
                <a:schemeClr val="tx1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19073" y="23019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Initial estimates from RAY show that rehabilitation will be an unprecedented challenge – requiring the support of all stakeholders</a:t>
            </a:r>
            <a:endParaRPr lang="en-US" dirty="0"/>
          </a:p>
        </p:txBody>
      </p:sp>
      <p:sp>
        <p:nvSpPr>
          <p:cNvPr id="5" name="McK 5. Source"/>
          <p:cNvSpPr>
            <a:spLocks noChangeArrowheads="1"/>
          </p:cNvSpPr>
          <p:nvPr/>
        </p:nvSpPr>
        <p:spPr bwMode="gray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8954" indent="-608954" defTabSz="894400">
              <a:tabLst>
                <a:tab pos="612125" algn="l"/>
              </a:tabLst>
            </a:pPr>
            <a:r>
              <a:rPr lang="en-US" sz="1000" dirty="0">
                <a:solidFill>
                  <a:schemeClr val="bg1"/>
                </a:solidFill>
                <a:latin typeface="+mn-lt"/>
              </a:rPr>
              <a:t>SOURCE: </a:t>
            </a:r>
            <a:r>
              <a:rPr lang="en-US" sz="1000" dirty="0" err="1">
                <a:solidFill>
                  <a:schemeClr val="bg1"/>
                </a:solidFill>
                <a:latin typeface="+mn-lt"/>
              </a:rPr>
              <a:t>NEDA</a:t>
            </a:r>
            <a:r>
              <a:rPr lang="en-US" sz="1000" dirty="0">
                <a:solidFill>
                  <a:schemeClr val="bg1"/>
                </a:solidFill>
                <a:latin typeface="+mn-lt"/>
              </a:rPr>
              <a:t> RAY report Dec 2013</a:t>
            </a:r>
          </a:p>
        </p:txBody>
      </p:sp>
      <p:sp>
        <p:nvSpPr>
          <p:cNvPr id="8" name="Rectangle 7"/>
          <p:cNvSpPr>
            <a:spLocks/>
          </p:cNvSpPr>
          <p:nvPr/>
        </p:nvSpPr>
        <p:spPr bwMode="gray">
          <a:xfrm>
            <a:off x="712798" y="852498"/>
            <a:ext cx="6072671" cy="5285531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342" tIns="45672" rIns="91342" bIns="45672" anchor="ctr"/>
          <a:lstStyle/>
          <a:p>
            <a:endParaRPr lang="en-US" sz="1400" dirty="0" err="1">
              <a:latin typeface="Arial" pitchFamily="34" charset="0"/>
            </a:endParaRPr>
          </a:p>
        </p:txBody>
      </p:sp>
      <p:sp>
        <p:nvSpPr>
          <p:cNvPr id="124" name="Rectangle 123"/>
          <p:cNvSpPr/>
          <p:nvPr>
            <p:custDataLst>
              <p:tags r:id="rId3"/>
            </p:custDataLst>
          </p:nvPr>
        </p:nvSpPr>
        <p:spPr bwMode="auto">
          <a:xfrm>
            <a:off x="4922838" y="1274763"/>
            <a:ext cx="136525" cy="1365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2" tIns="45672" rIns="91342" bIns="45672" rtlCol="0" anchor="ctr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23" name="Rectangle 122"/>
          <p:cNvSpPr/>
          <p:nvPr>
            <p:custDataLst>
              <p:tags r:id="rId4"/>
            </p:custDataLst>
          </p:nvPr>
        </p:nvSpPr>
        <p:spPr bwMode="auto">
          <a:xfrm>
            <a:off x="4922838" y="1516063"/>
            <a:ext cx="136525" cy="136525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42" tIns="45672" rIns="91342" bIns="45672" rtlCol="0" anchor="ctr">
            <a:noAutofit/>
          </a:bodyPr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25" name="Rectangle 12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5160973" y="1273175"/>
            <a:ext cx="5953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48E4C97-37F8-4505-8D2D-45FC03BDAFB6}" type="datetime'''''''''''''''O''''''''''n-''''bu''''''''d''''''''get'''''''">
              <a:rPr lang="en-US" sz="1000">
                <a:ea typeface="+mn-ea"/>
                <a:cs typeface="+mn-cs"/>
              </a:rPr>
              <a:pPr/>
              <a:t>On-budget</a:t>
            </a:fld>
            <a:endParaRPr lang="en-US" sz="1000" dirty="0">
              <a:ea typeface="+mn-ea"/>
              <a:cs typeface="+mn-cs"/>
              <a:sym typeface="+mn-lt"/>
            </a:endParaRPr>
          </a:p>
        </p:txBody>
      </p:sp>
      <p:sp>
        <p:nvSpPr>
          <p:cNvPr id="126" name="Rectangle 12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5160973" y="1514475"/>
            <a:ext cx="10144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6AB3035-624C-49ED-A2C4-4BDD6A8C9079}" type="datetime'''''''Off''''-''bu''''dge''t (&quot;''''''''''g''''''a''''p&quot;)'''''">
              <a:rPr lang="en-US" sz="1000">
                <a:ea typeface="+mn-ea"/>
                <a:cs typeface="+mn-cs"/>
              </a:rPr>
              <a:pPr/>
              <a:t>Off-budget ("gap")</a:t>
            </a:fld>
            <a:endParaRPr lang="en-US" sz="1000" dirty="0">
              <a:ea typeface="+mn-ea"/>
              <a:cs typeface="+mn-cs"/>
              <a:sym typeface="+mn-lt"/>
            </a:endParaRPr>
          </a:p>
        </p:txBody>
      </p:sp>
      <p:cxnSp>
        <p:nvCxnSpPr>
          <p:cNvPr id="280" name="Straight Connector 279"/>
          <p:cNvCxnSpPr/>
          <p:nvPr>
            <p:custDataLst>
              <p:tags r:id="rId7"/>
            </p:custDataLst>
          </p:nvPr>
        </p:nvCxnSpPr>
        <p:spPr bwMode="gray">
          <a:xfrm>
            <a:off x="5835650" y="5565775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/>
          <p:cNvCxnSpPr/>
          <p:nvPr>
            <p:custDataLst>
              <p:tags r:id="rId8"/>
            </p:custDataLst>
          </p:nvPr>
        </p:nvCxnSpPr>
        <p:spPr bwMode="gray">
          <a:xfrm>
            <a:off x="5178425" y="2689225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>
            <p:custDataLst>
              <p:tags r:id="rId9"/>
            </p:custDataLst>
          </p:nvPr>
        </p:nvCxnSpPr>
        <p:spPr bwMode="gray">
          <a:xfrm>
            <a:off x="5340350" y="3098800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10"/>
            </p:custDataLst>
          </p:nvPr>
        </p:nvCxnSpPr>
        <p:spPr bwMode="gray">
          <a:xfrm>
            <a:off x="4321175" y="1860550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>
            <p:custDataLst>
              <p:tags r:id="rId11"/>
            </p:custDataLst>
          </p:nvPr>
        </p:nvCxnSpPr>
        <p:spPr bwMode="gray">
          <a:xfrm>
            <a:off x="4921250" y="2270125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>
            <p:custDataLst>
              <p:tags r:id="rId12"/>
            </p:custDataLst>
          </p:nvPr>
        </p:nvCxnSpPr>
        <p:spPr bwMode="gray">
          <a:xfrm>
            <a:off x="5588000" y="3917950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>
            <p:custDataLst>
              <p:tags r:id="rId13"/>
            </p:custDataLst>
          </p:nvPr>
        </p:nvCxnSpPr>
        <p:spPr bwMode="gray">
          <a:xfrm>
            <a:off x="5502275" y="3508375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>
            <p:custDataLst>
              <p:tags r:id="rId14"/>
            </p:custDataLst>
          </p:nvPr>
        </p:nvCxnSpPr>
        <p:spPr bwMode="gray">
          <a:xfrm>
            <a:off x="5673725" y="4327525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/>
          <p:cNvCxnSpPr/>
          <p:nvPr>
            <p:custDataLst>
              <p:tags r:id="rId15"/>
            </p:custDataLst>
          </p:nvPr>
        </p:nvCxnSpPr>
        <p:spPr bwMode="gray">
          <a:xfrm>
            <a:off x="5797550" y="5156200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/>
          <p:cNvCxnSpPr/>
          <p:nvPr>
            <p:custDataLst>
              <p:tags r:id="rId16"/>
            </p:custDataLst>
          </p:nvPr>
        </p:nvCxnSpPr>
        <p:spPr bwMode="gray">
          <a:xfrm>
            <a:off x="5740400" y="4737100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" name="Object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448666597"/>
              </p:ext>
            </p:extLst>
          </p:nvPr>
        </p:nvGraphicFramePr>
        <p:xfrm>
          <a:off x="2597150" y="1412875"/>
          <a:ext cx="3333770" cy="4724378"/>
        </p:xfrm>
        <a:graphic>
          <a:graphicData uri="http://schemas.openxmlformats.org/presentationml/2006/ole">
            <p:oleObj spid="_x0000_s22545" name="Chart" r:id="rId127" imgW="3333885" imgH="4724310" progId="MSGraph.Chart.8">
              <p:embed followColorScheme="full"/>
            </p:oleObj>
          </a:graphicData>
        </a:graphic>
      </p:graphicFrame>
      <p:cxnSp>
        <p:nvCxnSpPr>
          <p:cNvPr id="62" name="Straight Connector 61"/>
          <p:cNvCxnSpPr/>
          <p:nvPr>
            <p:custDataLst>
              <p:tags r:id="rId17"/>
            </p:custDataLst>
          </p:nvPr>
        </p:nvCxnSpPr>
        <p:spPr bwMode="gray">
          <a:xfrm>
            <a:off x="3825875" y="5680085"/>
            <a:ext cx="0" cy="295275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18"/>
            </p:custDataLst>
          </p:nvPr>
        </p:nvCxnSpPr>
        <p:spPr bwMode="gray">
          <a:xfrm>
            <a:off x="4321175" y="1565285"/>
            <a:ext cx="0" cy="295275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9"/>
            </p:custDataLst>
          </p:nvPr>
        </p:nvCxnSpPr>
        <p:spPr bwMode="gray">
          <a:xfrm>
            <a:off x="5178425" y="2384431"/>
            <a:ext cx="0" cy="30480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20"/>
            </p:custDataLst>
          </p:nvPr>
        </p:nvCxnSpPr>
        <p:spPr bwMode="gray">
          <a:xfrm>
            <a:off x="4349750" y="1974860"/>
            <a:ext cx="0" cy="295275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21"/>
            </p:custDataLst>
          </p:nvPr>
        </p:nvCxnSpPr>
        <p:spPr bwMode="gray">
          <a:xfrm>
            <a:off x="4349760" y="2270125"/>
            <a:ext cx="57150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22"/>
            </p:custDataLst>
          </p:nvPr>
        </p:nvCxnSpPr>
        <p:spPr bwMode="gray">
          <a:xfrm>
            <a:off x="4349760" y="1974850"/>
            <a:ext cx="57150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 bwMode="gray">
          <a:xfrm>
            <a:off x="4921250" y="1974860"/>
            <a:ext cx="0" cy="295275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24"/>
            </p:custDataLst>
          </p:nvPr>
        </p:nvCxnSpPr>
        <p:spPr bwMode="gray">
          <a:xfrm>
            <a:off x="3378200" y="1565285"/>
            <a:ext cx="0" cy="295275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25"/>
            </p:custDataLst>
          </p:nvPr>
        </p:nvCxnSpPr>
        <p:spPr bwMode="gray">
          <a:xfrm>
            <a:off x="5778500" y="4851400"/>
            <a:ext cx="0" cy="304800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26"/>
            </p:custDataLst>
          </p:nvPr>
        </p:nvCxnSpPr>
        <p:spPr bwMode="gray">
          <a:xfrm>
            <a:off x="3378210" y="1860550"/>
            <a:ext cx="942975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27"/>
            </p:custDataLst>
          </p:nvPr>
        </p:nvCxnSpPr>
        <p:spPr bwMode="gray">
          <a:xfrm>
            <a:off x="3378210" y="1565275"/>
            <a:ext cx="942975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28"/>
            </p:custDataLst>
          </p:nvPr>
        </p:nvCxnSpPr>
        <p:spPr bwMode="gray">
          <a:xfrm>
            <a:off x="3825875" y="5975350"/>
            <a:ext cx="2009775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29"/>
            </p:custDataLst>
          </p:nvPr>
        </p:nvCxnSpPr>
        <p:spPr bwMode="gray">
          <a:xfrm>
            <a:off x="3825875" y="5680075"/>
            <a:ext cx="2009775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30"/>
            </p:custDataLst>
          </p:nvPr>
        </p:nvCxnSpPr>
        <p:spPr bwMode="gray">
          <a:xfrm>
            <a:off x="5835650" y="5680085"/>
            <a:ext cx="0" cy="295275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31"/>
            </p:custDataLst>
          </p:nvPr>
        </p:nvCxnSpPr>
        <p:spPr bwMode="gray">
          <a:xfrm>
            <a:off x="5778500" y="5156200"/>
            <a:ext cx="1905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32"/>
            </p:custDataLst>
          </p:nvPr>
        </p:nvCxnSpPr>
        <p:spPr bwMode="gray">
          <a:xfrm>
            <a:off x="5778500" y="4851400"/>
            <a:ext cx="1905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33"/>
            </p:custDataLst>
          </p:nvPr>
        </p:nvCxnSpPr>
        <p:spPr bwMode="gray">
          <a:xfrm>
            <a:off x="5797550" y="4851400"/>
            <a:ext cx="0" cy="30480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4"/>
            </p:custDataLst>
          </p:nvPr>
        </p:nvCxnSpPr>
        <p:spPr bwMode="gray">
          <a:xfrm>
            <a:off x="5702300" y="4441835"/>
            <a:ext cx="0" cy="295275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35"/>
            </p:custDataLst>
          </p:nvPr>
        </p:nvCxnSpPr>
        <p:spPr bwMode="gray">
          <a:xfrm>
            <a:off x="5702300" y="4737100"/>
            <a:ext cx="3810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36"/>
            </p:custDataLst>
          </p:nvPr>
        </p:nvCxnSpPr>
        <p:spPr bwMode="gray">
          <a:xfrm>
            <a:off x="5702300" y="4441825"/>
            <a:ext cx="3810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37"/>
            </p:custDataLst>
          </p:nvPr>
        </p:nvCxnSpPr>
        <p:spPr bwMode="gray">
          <a:xfrm>
            <a:off x="5740400" y="4441835"/>
            <a:ext cx="0" cy="295275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38"/>
            </p:custDataLst>
          </p:nvPr>
        </p:nvCxnSpPr>
        <p:spPr bwMode="gray">
          <a:xfrm>
            <a:off x="5626100" y="4032260"/>
            <a:ext cx="0" cy="295275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39"/>
            </p:custDataLst>
          </p:nvPr>
        </p:nvCxnSpPr>
        <p:spPr bwMode="gray">
          <a:xfrm>
            <a:off x="5626110" y="4327525"/>
            <a:ext cx="47625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40"/>
            </p:custDataLst>
          </p:nvPr>
        </p:nvCxnSpPr>
        <p:spPr bwMode="gray">
          <a:xfrm>
            <a:off x="5626110" y="4032250"/>
            <a:ext cx="47625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41"/>
            </p:custDataLst>
          </p:nvPr>
        </p:nvCxnSpPr>
        <p:spPr bwMode="gray">
          <a:xfrm>
            <a:off x="5673725" y="4032260"/>
            <a:ext cx="0" cy="295275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42"/>
            </p:custDataLst>
          </p:nvPr>
        </p:nvCxnSpPr>
        <p:spPr bwMode="gray">
          <a:xfrm>
            <a:off x="5530850" y="3622685"/>
            <a:ext cx="0" cy="295275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43"/>
            </p:custDataLst>
          </p:nvPr>
        </p:nvCxnSpPr>
        <p:spPr bwMode="gray">
          <a:xfrm>
            <a:off x="5530850" y="3917950"/>
            <a:ext cx="5715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>
            <p:custDataLst>
              <p:tags r:id="rId44"/>
            </p:custDataLst>
          </p:nvPr>
        </p:nvCxnSpPr>
        <p:spPr bwMode="gray">
          <a:xfrm>
            <a:off x="5530850" y="3622675"/>
            <a:ext cx="5715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4" name="Straight Connector 253"/>
          <p:cNvCxnSpPr/>
          <p:nvPr>
            <p:custDataLst>
              <p:tags r:id="rId45"/>
            </p:custDataLst>
          </p:nvPr>
        </p:nvCxnSpPr>
        <p:spPr bwMode="gray">
          <a:xfrm>
            <a:off x="5588000" y="3622685"/>
            <a:ext cx="0" cy="295275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Straight Connector 252"/>
          <p:cNvCxnSpPr/>
          <p:nvPr>
            <p:custDataLst>
              <p:tags r:id="rId46"/>
            </p:custDataLst>
          </p:nvPr>
        </p:nvCxnSpPr>
        <p:spPr bwMode="gray">
          <a:xfrm>
            <a:off x="5368925" y="3213110"/>
            <a:ext cx="0" cy="295275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/>
          <p:cNvCxnSpPr/>
          <p:nvPr>
            <p:custDataLst>
              <p:tags r:id="rId47"/>
            </p:custDataLst>
          </p:nvPr>
        </p:nvCxnSpPr>
        <p:spPr bwMode="gray">
          <a:xfrm>
            <a:off x="5368925" y="3508375"/>
            <a:ext cx="13335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/>
          <p:cNvCxnSpPr/>
          <p:nvPr>
            <p:custDataLst>
              <p:tags r:id="rId48"/>
            </p:custDataLst>
          </p:nvPr>
        </p:nvCxnSpPr>
        <p:spPr bwMode="gray">
          <a:xfrm>
            <a:off x="5368925" y="3213100"/>
            <a:ext cx="13335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/>
          <p:cNvCxnSpPr/>
          <p:nvPr>
            <p:custDataLst>
              <p:tags r:id="rId49"/>
            </p:custDataLst>
          </p:nvPr>
        </p:nvCxnSpPr>
        <p:spPr bwMode="gray">
          <a:xfrm>
            <a:off x="5502275" y="3213110"/>
            <a:ext cx="0" cy="295275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/>
          <p:cNvCxnSpPr/>
          <p:nvPr>
            <p:custDataLst>
              <p:tags r:id="rId50"/>
            </p:custDataLst>
          </p:nvPr>
        </p:nvCxnSpPr>
        <p:spPr bwMode="gray">
          <a:xfrm>
            <a:off x="5245100" y="2803535"/>
            <a:ext cx="0" cy="295275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51"/>
            </p:custDataLst>
          </p:nvPr>
        </p:nvCxnSpPr>
        <p:spPr bwMode="gray">
          <a:xfrm>
            <a:off x="5245100" y="3098800"/>
            <a:ext cx="9525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52"/>
            </p:custDataLst>
          </p:nvPr>
        </p:nvCxnSpPr>
        <p:spPr bwMode="gray">
          <a:xfrm>
            <a:off x="5245100" y="2803525"/>
            <a:ext cx="95250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53"/>
            </p:custDataLst>
          </p:nvPr>
        </p:nvCxnSpPr>
        <p:spPr bwMode="gray">
          <a:xfrm>
            <a:off x="5340350" y="2803535"/>
            <a:ext cx="0" cy="295275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54"/>
            </p:custDataLst>
          </p:nvPr>
        </p:nvCxnSpPr>
        <p:spPr bwMode="gray">
          <a:xfrm>
            <a:off x="5073650" y="2384431"/>
            <a:ext cx="0" cy="304800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55"/>
            </p:custDataLst>
          </p:nvPr>
        </p:nvCxnSpPr>
        <p:spPr bwMode="gray">
          <a:xfrm>
            <a:off x="5073660" y="2384425"/>
            <a:ext cx="104775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56"/>
            </p:custDataLst>
          </p:nvPr>
        </p:nvCxnSpPr>
        <p:spPr bwMode="gray">
          <a:xfrm>
            <a:off x="5073660" y="2689225"/>
            <a:ext cx="104775" cy="0"/>
          </a:xfrm>
          <a:prstGeom prst="line">
            <a:avLst/>
          </a:prstGeom>
          <a:ln w="9525">
            <a:solidFill>
              <a:schemeClr val="hlink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57"/>
            </p:custDataLst>
          </p:nvPr>
        </p:nvCxnSpPr>
        <p:spPr bwMode="gray">
          <a:xfrm>
            <a:off x="4895850" y="2676525"/>
            <a:ext cx="101600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1" name="Rectangle 290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gray">
          <a:xfrm>
            <a:off x="5861060" y="572135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C9BD5E6D-D3B8-4AC0-BCB0-CC2BABD1EB25}" type="datetime'''8''.''''''''''''''''''''2'''''''''''''''''''''">
              <a:rPr lang="en-US" sz="1400" b="1">
                <a:solidFill>
                  <a:schemeClr val="tx2"/>
                </a:solidFill>
                <a:ea typeface="Arial Unicode MS"/>
                <a:cs typeface="Arial Unicode MS"/>
              </a:rPr>
              <a:pPr/>
              <a:t>8.2</a:t>
            </a:fld>
            <a:endParaRPr lang="en-US" sz="1400" b="1" dirty="0">
              <a:solidFill>
                <a:schemeClr val="tx2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15" name="Rectangle 114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gray">
          <a:xfrm>
            <a:off x="3148023" y="572135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EC591CB-8DC6-49A3-9DBD-EA4B0152FB9D}" type="datetime'''''''''''''2''''''''''''''''''''''''''''''.''''''8'''''''''">
              <a:rPr lang="en-US" sz="1400"/>
              <a:pPr algn="ctr"/>
              <a:t>2.8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16" name="Rectangle 115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4686310" y="572135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520745F-1159-4D25-BC05-2A1B8D90F557}" type="datetime'''''''''5''''''.''''''''''''''''''''''3'''''''''''''''''">
              <a:rPr lang="en-US" sz="1400"/>
              <a:pPr algn="ctr"/>
              <a:t>5.3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304" name="Rectangle 303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1158885" y="5311779"/>
            <a:ext cx="14081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>
                <a:ea typeface="Arial Unicode MS"/>
                <a:cs typeface="Arial Unicode MS"/>
              </a:rPr>
              <a:t>Local </a:t>
            </a:r>
            <a:r>
              <a:rPr lang="en-US" sz="1400" dirty="0">
                <a:latin typeface="Arial"/>
                <a:ea typeface="Arial Unicode MS"/>
                <a:cs typeface="Arial Unicode MS"/>
                <a:sym typeface="Arial"/>
              </a:rPr>
              <a:t>government</a:t>
            </a:r>
          </a:p>
        </p:txBody>
      </p:sp>
      <p:sp>
        <p:nvSpPr>
          <p:cNvPr id="302" name="Rectangle 301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5861060" y="5311779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B2AA20F8-5487-43C2-8D2E-4C5959694148}" type="datetime'''''''''''''''''''''''0''.''''1'''">
              <a:rPr lang="en-US" sz="1400" b="1">
                <a:solidFill>
                  <a:schemeClr val="tx2"/>
                </a:solidFill>
                <a:ea typeface="Arial Unicode MS"/>
                <a:cs typeface="Arial Unicode MS"/>
              </a:rPr>
              <a:pPr/>
              <a:t>0.1</a:t>
            </a:fld>
            <a:endParaRPr lang="en-US" sz="1400" b="1" dirty="0">
              <a:solidFill>
                <a:schemeClr val="tx2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303" name="Rectangle 302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1158885" y="4897438"/>
            <a:ext cx="5127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>
                <a:ea typeface="Arial Unicode MS"/>
                <a:cs typeface="Arial Unicode MS"/>
              </a:rPr>
              <a:t>Health</a:t>
            </a:r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17" name="Rectangle 116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1158885" y="4483100"/>
            <a:ext cx="7508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>
                <a:latin typeface="Arial"/>
                <a:ea typeface="Arial Unicode MS"/>
                <a:cs typeface="Arial Unicode MS"/>
                <a:sym typeface="Arial"/>
              </a:rPr>
              <a:t>Transport</a:t>
            </a:r>
          </a:p>
        </p:txBody>
      </p:sp>
      <p:sp>
        <p:nvSpPr>
          <p:cNvPr id="290" name="Rectangle 289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5815023" y="448310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286114C5-000C-4F8A-8916-0F7777B025B7}" type="datetime'''''''''''''''''0''''.2'''''''''''''''''''''''''''">
              <a:rPr lang="en-US" sz="1400" b="1">
                <a:solidFill>
                  <a:schemeClr val="tx2"/>
                </a:solidFill>
                <a:ea typeface="Arial Unicode MS"/>
                <a:cs typeface="Arial Unicode MS"/>
              </a:rPr>
              <a:pPr/>
              <a:t>0.2</a:t>
            </a:fld>
            <a:endParaRPr lang="en-US" sz="1400" b="1" dirty="0">
              <a:solidFill>
                <a:schemeClr val="tx2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96" name="Rectangle 95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gray">
          <a:xfrm>
            <a:off x="5148273" y="2844800"/>
            <a:ext cx="290513" cy="212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23B493C-B733-434A-9068-9E3B7A569964}" type="datetime'''0''''''''''''''''''''''.''''''''''''''2'''''''''''''''''">
              <a:rPr lang="en-US" sz="1400"/>
              <a:pPr algn="ctr"/>
              <a:t>0.2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01" name="Rectangle 100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gray">
          <a:xfrm>
            <a:off x="1158885" y="2430463"/>
            <a:ext cx="7889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>
                <a:latin typeface="Arial"/>
                <a:ea typeface="Arial Unicode MS"/>
                <a:cs typeface="Arial Unicode MS"/>
                <a:sym typeface="Arial"/>
              </a:rPr>
              <a:t>Education</a:t>
            </a:r>
          </a:p>
        </p:txBody>
      </p:sp>
      <p:sp>
        <p:nvSpPr>
          <p:cNvPr id="285" name="Rectangle 284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5291148" y="2430463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9C3880CF-58D9-49A3-BA18-E920E313B02A}" type="datetime'0''.''''''7'''''''''">
              <a:rPr lang="en-US" sz="1400" b="1">
                <a:solidFill>
                  <a:schemeClr val="tx2"/>
                </a:solidFill>
                <a:ea typeface="Arial Unicode MS"/>
                <a:cs typeface="Arial Unicode MS"/>
              </a:rPr>
              <a:pPr/>
              <a:t>0.7</a:t>
            </a:fld>
            <a:endParaRPr lang="en-US" sz="1400" b="1" dirty="0">
              <a:solidFill>
                <a:schemeClr val="tx2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03" name="Rectangle 102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4605348" y="2570166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6D6DD29F-1FF7-48EF-A868-BA092AFF318E}" type="datetime'''''0.''''''4'">
              <a:rPr lang="en-US" sz="1400"/>
              <a:pPr algn="r"/>
              <a:t>0.4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gray">
          <a:xfrm>
            <a:off x="4981585" y="2430463"/>
            <a:ext cx="290513" cy="212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09DBB46-C6D2-47A8-8A22-BFD75EF4D79D}" type="datetime'''''''''''''''0''''.''''''''''''''''3'''''">
              <a:rPr lang="en-US" sz="1400"/>
              <a:pPr algn="ctr"/>
              <a:t>0.3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289" name="Rectangle 288"/>
          <p:cNvSpPr>
            <a:spLocks noGrp="1" noChangeArrowheads="1"/>
          </p:cNvSpPr>
          <p:nvPr>
            <p:custDataLst>
              <p:tags r:id="rId71"/>
            </p:custDataLst>
          </p:nvPr>
        </p:nvSpPr>
        <p:spPr bwMode="gray">
          <a:xfrm>
            <a:off x="5815023" y="4073531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58D9B26C-8FAD-416D-9B1C-192C57FB302B}" type="datetime'0''''''''''.''''''''''''2'''''''''''''''''''">
              <a:rPr lang="en-US" sz="1400" b="1">
                <a:solidFill>
                  <a:schemeClr val="tx2"/>
                </a:solidFill>
                <a:ea typeface="Arial Unicode MS"/>
                <a:cs typeface="Arial Unicode MS"/>
              </a:rPr>
              <a:pPr/>
              <a:t>0.2</a:t>
            </a:fld>
            <a:endParaRPr lang="en-US" sz="1400" b="1" dirty="0">
              <a:solidFill>
                <a:schemeClr val="tx2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284" name="Rectangle 283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gray">
          <a:xfrm>
            <a:off x="4946660" y="2016125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003E1F20-31E0-4CA5-BB9F-9CE606E8FA27}" type="datetime'''''''''''''''''''''''''1''''''.''''''''''6'''''''''''''">
              <a:rPr lang="en-US" sz="1400" b="1">
                <a:solidFill>
                  <a:schemeClr val="tx2"/>
                </a:solidFill>
                <a:ea typeface="Arial Unicode MS"/>
                <a:cs typeface="Arial Unicode MS"/>
              </a:rPr>
              <a:pPr/>
              <a:t>1.6</a:t>
            </a:fld>
            <a:endParaRPr lang="en-US" sz="1400" b="1" dirty="0">
              <a:solidFill>
                <a:schemeClr val="tx2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4191010" y="2016125"/>
            <a:ext cx="290513" cy="2127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E5307F6-F9D2-4237-95F4-AB6DFF4A1341}" type="datetime'''''''0''''''.''''''''''''1'''''''''''''''''''''''''">
              <a:rPr lang="en-US" sz="1400"/>
              <a:pPr algn="ctr"/>
              <a:t>0.1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gray">
          <a:xfrm>
            <a:off x="4491048" y="2016125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633DFAD-2B11-47E7-B296-7C6CCB65A184}" type="datetime'''''1''''''''''''''''''.''''''5'''''">
              <a:rPr lang="en-US" sz="1400"/>
              <a:pPr algn="ctr"/>
              <a:t>1.5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gray">
          <a:xfrm>
            <a:off x="1158885" y="1606550"/>
            <a:ext cx="6508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>
                <a:latin typeface="Arial"/>
                <a:ea typeface="Arial Unicode MS"/>
                <a:cs typeface="Arial Unicode MS"/>
                <a:sym typeface="Arial"/>
              </a:rPr>
              <a:t>Housing</a:t>
            </a:r>
          </a:p>
        </p:txBody>
      </p:sp>
      <p:sp>
        <p:nvSpPr>
          <p:cNvPr id="283" name="Rectangle 282"/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gray">
          <a:xfrm>
            <a:off x="4346585" y="160655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883BDFA4-1E6B-43E6-A1BD-38D929DFFF71}" type="datetime'''4''''''''''.1'''''''''''''''''''''''''''''''''''''''''">
              <a:rPr lang="en-US" sz="1400" b="1">
                <a:solidFill>
                  <a:schemeClr val="tx2"/>
                </a:solidFill>
                <a:ea typeface="Arial Unicode MS"/>
                <a:cs typeface="Arial Unicode MS"/>
              </a:rPr>
              <a:pPr/>
              <a:t>4.1</a:t>
            </a:fld>
            <a:endParaRPr lang="en-US" sz="1400" b="1" dirty="0">
              <a:solidFill>
                <a:schemeClr val="tx2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11" name="Rectangle 110"/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gray">
          <a:xfrm>
            <a:off x="2924185" y="160655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38A4D99-A3CA-40FE-8A04-BD30B1746773}" type="datetime'''1''''''''''''''''''.''''7'">
              <a:rPr lang="en-US" sz="1400"/>
              <a:pPr algn="ctr"/>
              <a:t>1.7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12" name="Rectangle 111"/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gray">
          <a:xfrm>
            <a:off x="3705235" y="160655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6129F98-7B59-4B47-9875-1F7F439D803C}" type="datetime'2''''''''''''''''''''''.''''''''''5'''''''''''''''''''''''''">
              <a:rPr lang="en-US" sz="1400"/>
              <a:pPr algn="ctr"/>
              <a:t>2.5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13" name="Rectangle 112"/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gray">
          <a:xfrm>
            <a:off x="1158875" y="5721350"/>
            <a:ext cx="4587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  <a:latin typeface="Arial"/>
                <a:ea typeface="Arial Unicode MS"/>
                <a:cs typeface="Arial Unicode MS"/>
                <a:sym typeface="Arial"/>
              </a:rPr>
              <a:t>Total </a:t>
            </a:r>
          </a:p>
        </p:txBody>
      </p:sp>
      <p:sp>
        <p:nvSpPr>
          <p:cNvPr id="293" name="Rectangle 292"/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gray">
          <a:xfrm>
            <a:off x="5822960" y="4897438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C53A3C60-6577-472A-B4B0-368943E3F172}" type="datetime'''''''''''''''0''''''.''''''''''''''''''''''''''''''''2'">
              <a:rPr lang="en-US" sz="1400" b="1">
                <a:solidFill>
                  <a:schemeClr val="tx2"/>
                </a:solidFill>
                <a:ea typeface="Arial Unicode MS"/>
                <a:cs typeface="Arial Unicode MS"/>
              </a:rPr>
              <a:pPr/>
              <a:t>0.2</a:t>
            </a:fld>
            <a:endParaRPr lang="en-US" sz="1400" b="1" dirty="0">
              <a:solidFill>
                <a:schemeClr val="tx2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276" name="Rectangle 275"/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gray">
          <a:xfrm>
            <a:off x="5505460" y="4073531"/>
            <a:ext cx="290513" cy="212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4959437-E7AA-4F89-9BAD-252DEB2105EF}" type="datetime'''0''''.''''''''''''''''''''''''''''''''''''''''''''''1'''''''">
              <a:rPr lang="en-US" sz="1400">
                <a:ea typeface="Arial Unicode MS"/>
                <a:cs typeface="Arial Unicode MS"/>
              </a:rPr>
              <a:pPr algn="ctr"/>
              <a:t>0.1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21" name="Rectangle 120"/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gray">
          <a:xfrm>
            <a:off x="1158885" y="3663960"/>
            <a:ext cx="1339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>
                <a:latin typeface="Arial"/>
                <a:ea typeface="Arial Unicode MS"/>
                <a:cs typeface="Arial Unicode MS"/>
                <a:sym typeface="Arial"/>
              </a:rPr>
              <a:t>Roads and water</a:t>
            </a:r>
          </a:p>
        </p:txBody>
      </p:sp>
      <p:sp>
        <p:nvSpPr>
          <p:cNvPr id="275" name="Rectangle 274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gray">
          <a:xfrm>
            <a:off x="1158875" y="4073531"/>
            <a:ext cx="7604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>
                <a:ea typeface="Arial Unicode MS"/>
                <a:cs typeface="Arial Unicode MS"/>
              </a:rPr>
              <a:t>Electricity</a:t>
            </a:r>
          </a:p>
        </p:txBody>
      </p:sp>
      <p:sp>
        <p:nvSpPr>
          <p:cNvPr id="288" name="Rectangle 287"/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gray">
          <a:xfrm>
            <a:off x="5724535" y="366396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665E44B0-0B17-4E14-B996-A2983B1D3924}" type="datetime'''0''''''''''''''''''''.''''''''''''''''2'''''''''">
              <a:rPr lang="en-US" sz="1400" b="1">
                <a:solidFill>
                  <a:schemeClr val="tx2"/>
                </a:solidFill>
                <a:ea typeface="Arial Unicode MS"/>
                <a:cs typeface="Arial Unicode MS"/>
              </a:rPr>
              <a:pPr/>
              <a:t>0.2</a:t>
            </a:fld>
            <a:endParaRPr lang="en-US" sz="1400" b="1" dirty="0">
              <a:solidFill>
                <a:schemeClr val="tx2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92" name="Rectangle 91"/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gray">
          <a:xfrm>
            <a:off x="5414973" y="3663960"/>
            <a:ext cx="290513" cy="212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5DEB12A-3CB8-4297-8108-A830ADC40B4E}" type="datetime'''''''0''''''.''''''''''''''''''2'">
              <a:rPr lang="en-US" sz="1400"/>
              <a:pPr algn="ctr"/>
              <a:t>0.2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201" name="Rectangle 200"/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gray">
          <a:xfrm>
            <a:off x="1158875" y="3254385"/>
            <a:ext cx="1311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>
                <a:ea typeface="Arial Unicode MS"/>
                <a:cs typeface="Arial Unicode MS"/>
              </a:rPr>
              <a:t>Social protection</a:t>
            </a:r>
          </a:p>
        </p:txBody>
      </p:sp>
      <p:sp>
        <p:nvSpPr>
          <p:cNvPr id="287" name="Rectangle 286"/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gray">
          <a:xfrm>
            <a:off x="5600710" y="3254385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D96DE979-8D55-4225-BD42-BE17A9D28983}" type="datetime'''''''0''''''''''''''''.''''''''''''''''4'''''''''''''''''''">
              <a:rPr lang="en-US" sz="1400" b="1">
                <a:solidFill>
                  <a:schemeClr val="tx2"/>
                </a:solidFill>
                <a:ea typeface="Arial Unicode MS"/>
                <a:cs typeface="Arial Unicode MS"/>
              </a:rPr>
              <a:pPr/>
              <a:t>0.4</a:t>
            </a:fld>
            <a:endParaRPr lang="en-US" sz="1400" b="1" dirty="0">
              <a:solidFill>
                <a:schemeClr val="tx2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206" name="Rectangle 205"/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gray">
          <a:xfrm>
            <a:off x="5291148" y="3254385"/>
            <a:ext cx="290513" cy="212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E419F2F-1971-419F-A655-618D880CF9EC}" type="datetime'''''''''''''''''''0''.''''''''''''''''''''''''''3'''">
              <a:rPr lang="en-US" sz="1400">
                <a:ea typeface="Arial Unicode MS"/>
                <a:cs typeface="Arial Unicode MS"/>
              </a:rPr>
              <a:pPr algn="ctr"/>
              <a:t>0.3</a:t>
            </a:fld>
            <a:endParaRPr lang="en-US" sz="1400" dirty="0"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93" name="Rectangle 92"/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gray">
          <a:xfrm>
            <a:off x="1158885" y="2844800"/>
            <a:ext cx="847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>
                <a:latin typeface="Arial"/>
                <a:ea typeface="Arial Unicode MS"/>
                <a:cs typeface="Arial Unicode MS"/>
                <a:sym typeface="Arial"/>
              </a:rPr>
              <a:t>Agriculture</a:t>
            </a:r>
          </a:p>
        </p:txBody>
      </p:sp>
      <p:sp>
        <p:nvSpPr>
          <p:cNvPr id="286" name="Rectangle 285"/>
          <p:cNvSpPr>
            <a:spLocks noGrp="1" noChangeArrowheads="1"/>
          </p:cNvSpPr>
          <p:nvPr>
            <p:custDataLst>
              <p:tags r:id="rId90"/>
            </p:custDataLst>
          </p:nvPr>
        </p:nvSpPr>
        <p:spPr bwMode="gray">
          <a:xfrm>
            <a:off x="5457835" y="2844800"/>
            <a:ext cx="290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04" tIns="0" rIns="22204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fld id="{B848CBEA-1834-42B9-9605-317E0C3B0233}" type="datetime'''''''''''0''''''''''''''''''.4'''''''''''''">
              <a:rPr lang="en-US" sz="1400" b="1">
                <a:solidFill>
                  <a:schemeClr val="tx2"/>
                </a:solidFill>
                <a:ea typeface="Arial Unicode MS"/>
                <a:cs typeface="Arial Unicode MS"/>
              </a:rPr>
              <a:pPr/>
              <a:t>0.4</a:t>
            </a:fld>
            <a:endParaRPr lang="en-US" sz="1400" b="1" dirty="0">
              <a:solidFill>
                <a:schemeClr val="tx2"/>
              </a:solidFill>
              <a:latin typeface="Arial"/>
              <a:ea typeface="Arial Unicode MS"/>
              <a:cs typeface="Arial Unicode MS"/>
              <a:sym typeface="Arial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gray">
          <a:xfrm>
            <a:off x="1158885" y="2016125"/>
            <a:ext cx="14986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dirty="0">
                <a:latin typeface="Arial"/>
                <a:ea typeface="Arial Unicode MS"/>
                <a:cs typeface="Arial Unicode MS"/>
                <a:sym typeface="Arial"/>
              </a:rPr>
              <a:t>Industry &amp; services</a:t>
            </a:r>
          </a:p>
        </p:txBody>
      </p:sp>
      <p:grpSp>
        <p:nvGrpSpPr>
          <p:cNvPr id="127" name="Group 126"/>
          <p:cNvGrpSpPr>
            <a:grpSpLocks/>
          </p:cNvGrpSpPr>
          <p:nvPr/>
        </p:nvGrpSpPr>
        <p:grpSpPr bwMode="gray">
          <a:xfrm>
            <a:off x="781060" y="2400310"/>
            <a:ext cx="272029" cy="266685"/>
            <a:chOff x="-367079" y="3558523"/>
            <a:chExt cx="350056" cy="351171"/>
          </a:xfrm>
        </p:grpSpPr>
        <p:sp>
          <p:nvSpPr>
            <p:cNvPr id="128" name="Oval 11"/>
            <p:cNvSpPr>
              <a:spLocks/>
            </p:cNvSpPr>
            <p:nvPr>
              <p:custDataLst>
                <p:tags r:id="rId122"/>
              </p:custDataLst>
            </p:nvPr>
          </p:nvSpPr>
          <p:spPr bwMode="gray">
            <a:xfrm>
              <a:off x="-367079" y="3558523"/>
              <a:ext cx="350056" cy="351171"/>
            </a:xfrm>
            <a:prstGeom prst="ellipse">
              <a:avLst/>
            </a:prstGeom>
            <a:solidFill>
              <a:srgbClr val="FFFFFF"/>
            </a:solidFill>
            <a:ln w="9525" cap="flat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  <p:grpSp>
          <p:nvGrpSpPr>
            <p:cNvPr id="129" name="Group 37"/>
            <p:cNvGrpSpPr>
              <a:grpSpLocks/>
            </p:cNvGrpSpPr>
            <p:nvPr>
              <p:custDataLst>
                <p:tags r:id="rId123"/>
              </p:custDataLst>
            </p:nvPr>
          </p:nvGrpSpPr>
          <p:grpSpPr bwMode="gray">
            <a:xfrm>
              <a:off x="-351764" y="3651512"/>
              <a:ext cx="319426" cy="165192"/>
              <a:chOff x="0" y="0"/>
              <a:chExt cx="292" cy="151"/>
            </a:xfrm>
          </p:grpSpPr>
          <p:sp>
            <p:nvSpPr>
              <p:cNvPr id="130" name="Freeform 33"/>
              <p:cNvSpPr>
                <a:spLocks/>
              </p:cNvSpPr>
              <p:nvPr/>
            </p:nvSpPr>
            <p:spPr bwMode="gray">
              <a:xfrm>
                <a:off x="0" y="0"/>
                <a:ext cx="292" cy="151"/>
              </a:xfrm>
              <a:custGeom>
                <a:avLst/>
                <a:gdLst>
                  <a:gd name="T0" fmla="*/ 20541 w 21600"/>
                  <a:gd name="T1" fmla="*/ 4889 h 21600"/>
                  <a:gd name="T2" fmla="*/ 12521 w 21600"/>
                  <a:gd name="T3" fmla="*/ 0 h 21600"/>
                  <a:gd name="T4" fmla="*/ 719 w 21600"/>
                  <a:gd name="T5" fmla="*/ 6349 h 21600"/>
                  <a:gd name="T6" fmla="*/ 4804 w 21600"/>
                  <a:gd name="T7" fmla="*/ 9486 h 21600"/>
                  <a:gd name="T8" fmla="*/ 0 w 21600"/>
                  <a:gd name="T9" fmla="*/ 13062 h 21600"/>
                  <a:gd name="T10" fmla="*/ 10819 w 21600"/>
                  <a:gd name="T11" fmla="*/ 21600 h 21600"/>
                  <a:gd name="T12" fmla="*/ 20541 w 21600"/>
                  <a:gd name="T13" fmla="*/ 13208 h 21600"/>
                  <a:gd name="T14" fmla="*/ 20541 w 21600"/>
                  <a:gd name="T15" fmla="*/ 13208 h 21600"/>
                  <a:gd name="T16" fmla="*/ 20768 w 21600"/>
                  <a:gd name="T17" fmla="*/ 12624 h 21600"/>
                  <a:gd name="T18" fmla="*/ 20995 w 21600"/>
                  <a:gd name="T19" fmla="*/ 12041 h 21600"/>
                  <a:gd name="T20" fmla="*/ 21184 w 21600"/>
                  <a:gd name="T21" fmla="*/ 11457 h 21600"/>
                  <a:gd name="T22" fmla="*/ 21335 w 21600"/>
                  <a:gd name="T23" fmla="*/ 10946 h 21600"/>
                  <a:gd name="T24" fmla="*/ 21449 w 21600"/>
                  <a:gd name="T25" fmla="*/ 10362 h 21600"/>
                  <a:gd name="T26" fmla="*/ 21562 w 21600"/>
                  <a:gd name="T27" fmla="*/ 9851 h 21600"/>
                  <a:gd name="T28" fmla="*/ 21600 w 21600"/>
                  <a:gd name="T29" fmla="*/ 9268 h 21600"/>
                  <a:gd name="T30" fmla="*/ 21600 w 21600"/>
                  <a:gd name="T31" fmla="*/ 8757 h 21600"/>
                  <a:gd name="T32" fmla="*/ 21600 w 21600"/>
                  <a:gd name="T33" fmla="*/ 8246 h 21600"/>
                  <a:gd name="T34" fmla="*/ 21562 w 21600"/>
                  <a:gd name="T35" fmla="*/ 7735 h 21600"/>
                  <a:gd name="T36" fmla="*/ 21449 w 21600"/>
                  <a:gd name="T37" fmla="*/ 7224 h 21600"/>
                  <a:gd name="T38" fmla="*/ 21335 w 21600"/>
                  <a:gd name="T39" fmla="*/ 6786 h 21600"/>
                  <a:gd name="T40" fmla="*/ 21184 w 21600"/>
                  <a:gd name="T41" fmla="*/ 6276 h 21600"/>
                  <a:gd name="T42" fmla="*/ 20995 w 21600"/>
                  <a:gd name="T43" fmla="*/ 5838 h 21600"/>
                  <a:gd name="T44" fmla="*/ 20768 w 21600"/>
                  <a:gd name="T45" fmla="*/ 5327 h 21600"/>
                  <a:gd name="T46" fmla="*/ 20541 w 21600"/>
                  <a:gd name="T47" fmla="*/ 4889 h 21600"/>
                  <a:gd name="T48" fmla="*/ 20541 w 21600"/>
                  <a:gd name="T49" fmla="*/ 4889 h 21600"/>
                  <a:gd name="T50" fmla="*/ 20541 w 21600"/>
                  <a:gd name="T51" fmla="*/ 488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600" h="21600">
                    <a:moveTo>
                      <a:pt x="20541" y="4889"/>
                    </a:moveTo>
                    <a:lnTo>
                      <a:pt x="12521" y="0"/>
                    </a:lnTo>
                    <a:lnTo>
                      <a:pt x="719" y="6349"/>
                    </a:lnTo>
                    <a:lnTo>
                      <a:pt x="4804" y="9486"/>
                    </a:lnTo>
                    <a:lnTo>
                      <a:pt x="0" y="13062"/>
                    </a:lnTo>
                    <a:lnTo>
                      <a:pt x="10819" y="21600"/>
                    </a:lnTo>
                    <a:lnTo>
                      <a:pt x="20541" y="13208"/>
                    </a:lnTo>
                    <a:lnTo>
                      <a:pt x="20768" y="12624"/>
                    </a:lnTo>
                    <a:lnTo>
                      <a:pt x="20995" y="12041"/>
                    </a:lnTo>
                    <a:lnTo>
                      <a:pt x="21184" y="11457"/>
                    </a:lnTo>
                    <a:lnTo>
                      <a:pt x="21335" y="10946"/>
                    </a:lnTo>
                    <a:lnTo>
                      <a:pt x="21449" y="10362"/>
                    </a:lnTo>
                    <a:lnTo>
                      <a:pt x="21562" y="9851"/>
                    </a:lnTo>
                    <a:lnTo>
                      <a:pt x="21600" y="9268"/>
                    </a:lnTo>
                    <a:lnTo>
                      <a:pt x="21600" y="8757"/>
                    </a:lnTo>
                    <a:lnTo>
                      <a:pt x="21600" y="8246"/>
                    </a:lnTo>
                    <a:lnTo>
                      <a:pt x="21562" y="7735"/>
                    </a:lnTo>
                    <a:lnTo>
                      <a:pt x="21449" y="7224"/>
                    </a:lnTo>
                    <a:lnTo>
                      <a:pt x="21335" y="6786"/>
                    </a:lnTo>
                    <a:lnTo>
                      <a:pt x="21184" y="6276"/>
                    </a:lnTo>
                    <a:lnTo>
                      <a:pt x="20995" y="5838"/>
                    </a:lnTo>
                    <a:lnTo>
                      <a:pt x="20768" y="5327"/>
                    </a:lnTo>
                    <a:lnTo>
                      <a:pt x="20541" y="4889"/>
                    </a:lnTo>
                    <a:close/>
                    <a:moveTo>
                      <a:pt x="20541" y="4889"/>
                    </a:move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31" name="Freeform 34"/>
              <p:cNvSpPr>
                <a:spLocks/>
              </p:cNvSpPr>
              <p:nvPr/>
            </p:nvSpPr>
            <p:spPr bwMode="gray">
              <a:xfrm>
                <a:off x="170" y="50"/>
                <a:ext cx="111" cy="79"/>
              </a:xfrm>
              <a:custGeom>
                <a:avLst/>
                <a:gdLst>
                  <a:gd name="T0" fmla="*/ 19519 w 21600"/>
                  <a:gd name="T1" fmla="*/ 9755 h 21600"/>
                  <a:gd name="T2" fmla="*/ 19519 w 21600"/>
                  <a:gd name="T3" fmla="*/ 9755 h 21600"/>
                  <a:gd name="T4" fmla="*/ 20312 w 21600"/>
                  <a:gd name="T5" fmla="*/ 8501 h 21600"/>
                  <a:gd name="T6" fmla="*/ 20906 w 21600"/>
                  <a:gd name="T7" fmla="*/ 7107 h 21600"/>
                  <a:gd name="T8" fmla="*/ 21303 w 21600"/>
                  <a:gd name="T9" fmla="*/ 5853 h 21600"/>
                  <a:gd name="T10" fmla="*/ 21600 w 21600"/>
                  <a:gd name="T11" fmla="*/ 4599 h 21600"/>
                  <a:gd name="T12" fmla="*/ 21600 w 21600"/>
                  <a:gd name="T13" fmla="*/ 3484 h 21600"/>
                  <a:gd name="T14" fmla="*/ 21501 w 21600"/>
                  <a:gd name="T15" fmla="*/ 2230 h 21600"/>
                  <a:gd name="T16" fmla="*/ 21105 w 21600"/>
                  <a:gd name="T17" fmla="*/ 1115 h 21600"/>
                  <a:gd name="T18" fmla="*/ 20609 w 21600"/>
                  <a:gd name="T19" fmla="*/ 0 h 21600"/>
                  <a:gd name="T20" fmla="*/ 0 w 21600"/>
                  <a:gd name="T21" fmla="*/ 11427 h 21600"/>
                  <a:gd name="T22" fmla="*/ 0 w 21600"/>
                  <a:gd name="T23" fmla="*/ 11427 h 21600"/>
                  <a:gd name="T24" fmla="*/ 495 w 21600"/>
                  <a:gd name="T25" fmla="*/ 12542 h 21600"/>
                  <a:gd name="T26" fmla="*/ 793 w 21600"/>
                  <a:gd name="T27" fmla="*/ 13796 h 21600"/>
                  <a:gd name="T28" fmla="*/ 991 w 21600"/>
                  <a:gd name="T29" fmla="*/ 15050 h 21600"/>
                  <a:gd name="T30" fmla="*/ 1189 w 21600"/>
                  <a:gd name="T31" fmla="*/ 16305 h 21600"/>
                  <a:gd name="T32" fmla="*/ 1189 w 21600"/>
                  <a:gd name="T33" fmla="*/ 17559 h 21600"/>
                  <a:gd name="T34" fmla="*/ 991 w 21600"/>
                  <a:gd name="T35" fmla="*/ 18952 h 21600"/>
                  <a:gd name="T36" fmla="*/ 793 w 21600"/>
                  <a:gd name="T37" fmla="*/ 20206 h 21600"/>
                  <a:gd name="T38" fmla="*/ 396 w 21600"/>
                  <a:gd name="T39" fmla="*/ 21600 h 21600"/>
                  <a:gd name="T40" fmla="*/ 19519 w 21600"/>
                  <a:gd name="T41" fmla="*/ 9755 h 21600"/>
                  <a:gd name="T42" fmla="*/ 19519 w 21600"/>
                  <a:gd name="T43" fmla="*/ 9755 h 21600"/>
                  <a:gd name="T44" fmla="*/ 19519 w 21600"/>
                  <a:gd name="T45" fmla="*/ 9755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600" h="21600">
                    <a:moveTo>
                      <a:pt x="19519" y="9755"/>
                    </a:moveTo>
                    <a:lnTo>
                      <a:pt x="19519" y="9755"/>
                    </a:lnTo>
                    <a:lnTo>
                      <a:pt x="20312" y="8501"/>
                    </a:lnTo>
                    <a:lnTo>
                      <a:pt x="20906" y="7107"/>
                    </a:lnTo>
                    <a:lnTo>
                      <a:pt x="21303" y="5853"/>
                    </a:lnTo>
                    <a:lnTo>
                      <a:pt x="21600" y="4599"/>
                    </a:lnTo>
                    <a:lnTo>
                      <a:pt x="21600" y="3484"/>
                    </a:lnTo>
                    <a:lnTo>
                      <a:pt x="21501" y="2230"/>
                    </a:lnTo>
                    <a:lnTo>
                      <a:pt x="21105" y="1115"/>
                    </a:lnTo>
                    <a:lnTo>
                      <a:pt x="20609" y="0"/>
                    </a:lnTo>
                    <a:lnTo>
                      <a:pt x="0" y="11427"/>
                    </a:lnTo>
                    <a:lnTo>
                      <a:pt x="495" y="12542"/>
                    </a:lnTo>
                    <a:lnTo>
                      <a:pt x="793" y="13796"/>
                    </a:lnTo>
                    <a:lnTo>
                      <a:pt x="991" y="15050"/>
                    </a:lnTo>
                    <a:lnTo>
                      <a:pt x="1189" y="16305"/>
                    </a:lnTo>
                    <a:lnTo>
                      <a:pt x="1189" y="17559"/>
                    </a:lnTo>
                    <a:lnTo>
                      <a:pt x="991" y="18952"/>
                    </a:lnTo>
                    <a:lnTo>
                      <a:pt x="793" y="20206"/>
                    </a:lnTo>
                    <a:lnTo>
                      <a:pt x="396" y="21600"/>
                    </a:lnTo>
                    <a:lnTo>
                      <a:pt x="19519" y="9755"/>
                    </a:lnTo>
                    <a:close/>
                    <a:moveTo>
                      <a:pt x="19519" y="9755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32" name="Freeform 35"/>
              <p:cNvSpPr>
                <a:spLocks/>
              </p:cNvSpPr>
              <p:nvPr/>
            </p:nvSpPr>
            <p:spPr bwMode="gray">
              <a:xfrm>
                <a:off x="14" y="49"/>
                <a:ext cx="142" cy="87"/>
              </a:xfrm>
              <a:custGeom>
                <a:avLst/>
                <a:gdLst>
                  <a:gd name="T0" fmla="*/ 20590 w 21600"/>
                  <a:gd name="T1" fmla="*/ 21600 h 21600"/>
                  <a:gd name="T2" fmla="*/ 20590 w 21600"/>
                  <a:gd name="T3" fmla="*/ 21600 h 21600"/>
                  <a:gd name="T4" fmla="*/ 21056 w 21600"/>
                  <a:gd name="T5" fmla="*/ 20202 h 21600"/>
                  <a:gd name="T6" fmla="*/ 21367 w 21600"/>
                  <a:gd name="T7" fmla="*/ 18678 h 21600"/>
                  <a:gd name="T8" fmla="*/ 21600 w 21600"/>
                  <a:gd name="T9" fmla="*/ 17280 h 21600"/>
                  <a:gd name="T10" fmla="*/ 21600 w 21600"/>
                  <a:gd name="T11" fmla="*/ 15882 h 21600"/>
                  <a:gd name="T12" fmla="*/ 21445 w 21600"/>
                  <a:gd name="T13" fmla="*/ 14358 h 21600"/>
                  <a:gd name="T14" fmla="*/ 21134 w 21600"/>
                  <a:gd name="T15" fmla="*/ 12960 h 21600"/>
                  <a:gd name="T16" fmla="*/ 20668 w 21600"/>
                  <a:gd name="T17" fmla="*/ 11435 h 21600"/>
                  <a:gd name="T18" fmla="*/ 20046 w 21600"/>
                  <a:gd name="T19" fmla="*/ 10038 h 21600"/>
                  <a:gd name="T20" fmla="*/ 622 w 21600"/>
                  <a:gd name="T21" fmla="*/ 0 h 21600"/>
                  <a:gd name="T22" fmla="*/ 622 w 21600"/>
                  <a:gd name="T23" fmla="*/ 0 h 21600"/>
                  <a:gd name="T24" fmla="*/ 1243 w 21600"/>
                  <a:gd name="T25" fmla="*/ 1779 h 21600"/>
                  <a:gd name="T26" fmla="*/ 1632 w 21600"/>
                  <a:gd name="T27" fmla="*/ 3431 h 21600"/>
                  <a:gd name="T28" fmla="*/ 1865 w 21600"/>
                  <a:gd name="T29" fmla="*/ 4955 h 21600"/>
                  <a:gd name="T30" fmla="*/ 1942 w 21600"/>
                  <a:gd name="T31" fmla="*/ 5591 h 21600"/>
                  <a:gd name="T32" fmla="*/ 1865 w 21600"/>
                  <a:gd name="T33" fmla="*/ 6353 h 21600"/>
                  <a:gd name="T34" fmla="*/ 1865 w 21600"/>
                  <a:gd name="T35" fmla="*/ 6988 h 21600"/>
                  <a:gd name="T36" fmla="*/ 1709 w 21600"/>
                  <a:gd name="T37" fmla="*/ 7624 h 21600"/>
                  <a:gd name="T38" fmla="*/ 1554 w 21600"/>
                  <a:gd name="T39" fmla="*/ 8132 h 21600"/>
                  <a:gd name="T40" fmla="*/ 1321 w 21600"/>
                  <a:gd name="T41" fmla="*/ 8767 h 21600"/>
                  <a:gd name="T42" fmla="*/ 1088 w 21600"/>
                  <a:gd name="T43" fmla="*/ 9275 h 21600"/>
                  <a:gd name="T44" fmla="*/ 777 w 21600"/>
                  <a:gd name="T45" fmla="*/ 9784 h 21600"/>
                  <a:gd name="T46" fmla="*/ 0 w 21600"/>
                  <a:gd name="T47" fmla="*/ 10673 h 21600"/>
                  <a:gd name="T48" fmla="*/ 20590 w 21600"/>
                  <a:gd name="T49" fmla="*/ 21600 h 21600"/>
                  <a:gd name="T50" fmla="*/ 20590 w 21600"/>
                  <a:gd name="T51" fmla="*/ 21600 h 21600"/>
                  <a:gd name="T52" fmla="*/ 20590 w 21600"/>
                  <a:gd name="T53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1600" h="21600">
                    <a:moveTo>
                      <a:pt x="20590" y="21600"/>
                    </a:moveTo>
                    <a:lnTo>
                      <a:pt x="20590" y="21600"/>
                    </a:lnTo>
                    <a:lnTo>
                      <a:pt x="21056" y="20202"/>
                    </a:lnTo>
                    <a:lnTo>
                      <a:pt x="21367" y="18678"/>
                    </a:lnTo>
                    <a:lnTo>
                      <a:pt x="21600" y="17280"/>
                    </a:lnTo>
                    <a:lnTo>
                      <a:pt x="21600" y="15882"/>
                    </a:lnTo>
                    <a:lnTo>
                      <a:pt x="21445" y="14358"/>
                    </a:lnTo>
                    <a:lnTo>
                      <a:pt x="21134" y="12960"/>
                    </a:lnTo>
                    <a:lnTo>
                      <a:pt x="20668" y="11435"/>
                    </a:lnTo>
                    <a:lnTo>
                      <a:pt x="20046" y="10038"/>
                    </a:lnTo>
                    <a:lnTo>
                      <a:pt x="622" y="0"/>
                    </a:lnTo>
                    <a:lnTo>
                      <a:pt x="1243" y="1779"/>
                    </a:lnTo>
                    <a:lnTo>
                      <a:pt x="1632" y="3431"/>
                    </a:lnTo>
                    <a:lnTo>
                      <a:pt x="1865" y="4955"/>
                    </a:lnTo>
                    <a:lnTo>
                      <a:pt x="1942" y="5591"/>
                    </a:lnTo>
                    <a:lnTo>
                      <a:pt x="1865" y="6353"/>
                    </a:lnTo>
                    <a:lnTo>
                      <a:pt x="1865" y="6988"/>
                    </a:lnTo>
                    <a:lnTo>
                      <a:pt x="1709" y="7624"/>
                    </a:lnTo>
                    <a:lnTo>
                      <a:pt x="1554" y="8132"/>
                    </a:lnTo>
                    <a:lnTo>
                      <a:pt x="1321" y="8767"/>
                    </a:lnTo>
                    <a:lnTo>
                      <a:pt x="1088" y="9275"/>
                    </a:lnTo>
                    <a:lnTo>
                      <a:pt x="777" y="9784"/>
                    </a:lnTo>
                    <a:lnTo>
                      <a:pt x="0" y="10673"/>
                    </a:lnTo>
                    <a:lnTo>
                      <a:pt x="20590" y="21600"/>
                    </a:lnTo>
                    <a:close/>
                    <a:moveTo>
                      <a:pt x="20590" y="21600"/>
                    </a:move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33" name="Freeform 36"/>
              <p:cNvSpPr>
                <a:spLocks/>
              </p:cNvSpPr>
              <p:nvPr/>
            </p:nvSpPr>
            <p:spPr bwMode="gray">
              <a:xfrm>
                <a:off x="0" y="44"/>
                <a:ext cx="163" cy="107"/>
              </a:xfrm>
              <a:custGeom>
                <a:avLst/>
                <a:gdLst>
                  <a:gd name="T0" fmla="*/ 20790 w 21600"/>
                  <a:gd name="T1" fmla="*/ 10232 h 21600"/>
                  <a:gd name="T2" fmla="*/ 20790 w 21600"/>
                  <a:gd name="T3" fmla="*/ 10232 h 21600"/>
                  <a:gd name="T4" fmla="*/ 20317 w 21600"/>
                  <a:gd name="T5" fmla="*/ 9405 h 21600"/>
                  <a:gd name="T6" fmla="*/ 19845 w 21600"/>
                  <a:gd name="T7" fmla="*/ 8578 h 21600"/>
                  <a:gd name="T8" fmla="*/ 19237 w 21600"/>
                  <a:gd name="T9" fmla="*/ 7958 h 21600"/>
                  <a:gd name="T10" fmla="*/ 18563 w 21600"/>
                  <a:gd name="T11" fmla="*/ 7544 h 21600"/>
                  <a:gd name="T12" fmla="*/ 1282 w 21600"/>
                  <a:gd name="T13" fmla="*/ 0 h 21600"/>
                  <a:gd name="T14" fmla="*/ 1282 w 21600"/>
                  <a:gd name="T15" fmla="*/ 1860 h 21600"/>
                  <a:gd name="T16" fmla="*/ 16537 w 21600"/>
                  <a:gd name="T17" fmla="*/ 9095 h 21600"/>
                  <a:gd name="T18" fmla="*/ 16537 w 21600"/>
                  <a:gd name="T19" fmla="*/ 9095 h 21600"/>
                  <a:gd name="T20" fmla="*/ 17280 w 21600"/>
                  <a:gd name="T21" fmla="*/ 9508 h 21600"/>
                  <a:gd name="T22" fmla="*/ 17955 w 21600"/>
                  <a:gd name="T23" fmla="*/ 10025 h 21600"/>
                  <a:gd name="T24" fmla="*/ 18563 w 21600"/>
                  <a:gd name="T25" fmla="*/ 10748 h 21600"/>
                  <a:gd name="T26" fmla="*/ 19035 w 21600"/>
                  <a:gd name="T27" fmla="*/ 11472 h 21600"/>
                  <a:gd name="T28" fmla="*/ 19035 w 21600"/>
                  <a:gd name="T29" fmla="*/ 11472 h 21600"/>
                  <a:gd name="T30" fmla="*/ 19440 w 21600"/>
                  <a:gd name="T31" fmla="*/ 12195 h 21600"/>
                  <a:gd name="T32" fmla="*/ 19710 w 21600"/>
                  <a:gd name="T33" fmla="*/ 13022 h 21600"/>
                  <a:gd name="T34" fmla="*/ 19912 w 21600"/>
                  <a:gd name="T35" fmla="*/ 13849 h 21600"/>
                  <a:gd name="T36" fmla="*/ 20047 w 21600"/>
                  <a:gd name="T37" fmla="*/ 14676 h 21600"/>
                  <a:gd name="T38" fmla="*/ 20047 w 21600"/>
                  <a:gd name="T39" fmla="*/ 14676 h 21600"/>
                  <a:gd name="T40" fmla="*/ 20047 w 21600"/>
                  <a:gd name="T41" fmla="*/ 15502 h 21600"/>
                  <a:gd name="T42" fmla="*/ 19980 w 21600"/>
                  <a:gd name="T43" fmla="*/ 16226 h 21600"/>
                  <a:gd name="T44" fmla="*/ 19777 w 21600"/>
                  <a:gd name="T45" fmla="*/ 16846 h 21600"/>
                  <a:gd name="T46" fmla="*/ 19507 w 21600"/>
                  <a:gd name="T47" fmla="*/ 17363 h 21600"/>
                  <a:gd name="T48" fmla="*/ 19507 w 21600"/>
                  <a:gd name="T49" fmla="*/ 17363 h 21600"/>
                  <a:gd name="T50" fmla="*/ 19170 w 21600"/>
                  <a:gd name="T51" fmla="*/ 17879 h 21600"/>
                  <a:gd name="T52" fmla="*/ 18697 w 21600"/>
                  <a:gd name="T53" fmla="*/ 18189 h 21600"/>
                  <a:gd name="T54" fmla="*/ 18157 w 21600"/>
                  <a:gd name="T55" fmla="*/ 18396 h 21600"/>
                  <a:gd name="T56" fmla="*/ 17550 w 21600"/>
                  <a:gd name="T57" fmla="*/ 18293 h 21600"/>
                  <a:gd name="T58" fmla="*/ 0 w 21600"/>
                  <a:gd name="T59" fmla="*/ 9508 h 21600"/>
                  <a:gd name="T60" fmla="*/ 0 w 21600"/>
                  <a:gd name="T61" fmla="*/ 11678 h 21600"/>
                  <a:gd name="T62" fmla="*/ 19305 w 21600"/>
                  <a:gd name="T63" fmla="*/ 21600 h 21600"/>
                  <a:gd name="T64" fmla="*/ 19305 w 21600"/>
                  <a:gd name="T65" fmla="*/ 21600 h 21600"/>
                  <a:gd name="T66" fmla="*/ 19912 w 21600"/>
                  <a:gd name="T67" fmla="*/ 20773 h 21600"/>
                  <a:gd name="T68" fmla="*/ 20385 w 21600"/>
                  <a:gd name="T69" fmla="*/ 19946 h 21600"/>
                  <a:gd name="T70" fmla="*/ 20790 w 21600"/>
                  <a:gd name="T71" fmla="*/ 19016 h 21600"/>
                  <a:gd name="T72" fmla="*/ 21127 w 21600"/>
                  <a:gd name="T73" fmla="*/ 18086 h 21600"/>
                  <a:gd name="T74" fmla="*/ 21127 w 21600"/>
                  <a:gd name="T75" fmla="*/ 18086 h 21600"/>
                  <a:gd name="T76" fmla="*/ 21330 w 21600"/>
                  <a:gd name="T77" fmla="*/ 17053 h 21600"/>
                  <a:gd name="T78" fmla="*/ 21532 w 21600"/>
                  <a:gd name="T79" fmla="*/ 16019 h 21600"/>
                  <a:gd name="T80" fmla="*/ 21600 w 21600"/>
                  <a:gd name="T81" fmla="*/ 14986 h 21600"/>
                  <a:gd name="T82" fmla="*/ 21600 w 21600"/>
                  <a:gd name="T83" fmla="*/ 13952 h 21600"/>
                  <a:gd name="T84" fmla="*/ 21600 w 21600"/>
                  <a:gd name="T85" fmla="*/ 13952 h 21600"/>
                  <a:gd name="T86" fmla="*/ 21532 w 21600"/>
                  <a:gd name="T87" fmla="*/ 12919 h 21600"/>
                  <a:gd name="T88" fmla="*/ 21330 w 21600"/>
                  <a:gd name="T89" fmla="*/ 11989 h 21600"/>
                  <a:gd name="T90" fmla="*/ 21127 w 21600"/>
                  <a:gd name="T91" fmla="*/ 11058 h 21600"/>
                  <a:gd name="T92" fmla="*/ 20790 w 21600"/>
                  <a:gd name="T93" fmla="*/ 10232 h 21600"/>
                  <a:gd name="T94" fmla="*/ 20790 w 21600"/>
                  <a:gd name="T95" fmla="*/ 10232 h 21600"/>
                  <a:gd name="T96" fmla="*/ 20790 w 21600"/>
                  <a:gd name="T97" fmla="*/ 10232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1600" h="21600">
                    <a:moveTo>
                      <a:pt x="20790" y="10232"/>
                    </a:moveTo>
                    <a:lnTo>
                      <a:pt x="20790" y="10232"/>
                    </a:lnTo>
                    <a:lnTo>
                      <a:pt x="20317" y="9405"/>
                    </a:lnTo>
                    <a:lnTo>
                      <a:pt x="19845" y="8578"/>
                    </a:lnTo>
                    <a:lnTo>
                      <a:pt x="19237" y="7958"/>
                    </a:lnTo>
                    <a:lnTo>
                      <a:pt x="18563" y="7544"/>
                    </a:lnTo>
                    <a:lnTo>
                      <a:pt x="1282" y="0"/>
                    </a:lnTo>
                    <a:lnTo>
                      <a:pt x="1282" y="1860"/>
                    </a:lnTo>
                    <a:lnTo>
                      <a:pt x="16537" y="9095"/>
                    </a:lnTo>
                    <a:lnTo>
                      <a:pt x="17280" y="9508"/>
                    </a:lnTo>
                    <a:lnTo>
                      <a:pt x="17955" y="10025"/>
                    </a:lnTo>
                    <a:lnTo>
                      <a:pt x="18563" y="10748"/>
                    </a:lnTo>
                    <a:lnTo>
                      <a:pt x="19035" y="11472"/>
                    </a:lnTo>
                    <a:lnTo>
                      <a:pt x="19440" y="12195"/>
                    </a:lnTo>
                    <a:lnTo>
                      <a:pt x="19710" y="13022"/>
                    </a:lnTo>
                    <a:lnTo>
                      <a:pt x="19912" y="13849"/>
                    </a:lnTo>
                    <a:lnTo>
                      <a:pt x="20047" y="14676"/>
                    </a:lnTo>
                    <a:lnTo>
                      <a:pt x="20047" y="15502"/>
                    </a:lnTo>
                    <a:lnTo>
                      <a:pt x="19980" y="16226"/>
                    </a:lnTo>
                    <a:lnTo>
                      <a:pt x="19777" y="16846"/>
                    </a:lnTo>
                    <a:lnTo>
                      <a:pt x="19507" y="17363"/>
                    </a:lnTo>
                    <a:lnTo>
                      <a:pt x="19170" y="17879"/>
                    </a:lnTo>
                    <a:lnTo>
                      <a:pt x="18697" y="18189"/>
                    </a:lnTo>
                    <a:lnTo>
                      <a:pt x="18157" y="18396"/>
                    </a:lnTo>
                    <a:lnTo>
                      <a:pt x="17550" y="18293"/>
                    </a:lnTo>
                    <a:lnTo>
                      <a:pt x="0" y="9508"/>
                    </a:lnTo>
                    <a:lnTo>
                      <a:pt x="0" y="11678"/>
                    </a:lnTo>
                    <a:lnTo>
                      <a:pt x="19305" y="21600"/>
                    </a:lnTo>
                    <a:lnTo>
                      <a:pt x="19912" y="20773"/>
                    </a:lnTo>
                    <a:lnTo>
                      <a:pt x="20385" y="19946"/>
                    </a:lnTo>
                    <a:lnTo>
                      <a:pt x="20790" y="19016"/>
                    </a:lnTo>
                    <a:lnTo>
                      <a:pt x="21127" y="18086"/>
                    </a:lnTo>
                    <a:lnTo>
                      <a:pt x="21330" y="17053"/>
                    </a:lnTo>
                    <a:lnTo>
                      <a:pt x="21532" y="16019"/>
                    </a:lnTo>
                    <a:lnTo>
                      <a:pt x="21600" y="14986"/>
                    </a:lnTo>
                    <a:lnTo>
                      <a:pt x="21600" y="13952"/>
                    </a:lnTo>
                    <a:lnTo>
                      <a:pt x="21532" y="12919"/>
                    </a:lnTo>
                    <a:lnTo>
                      <a:pt x="21330" y="11989"/>
                    </a:lnTo>
                    <a:lnTo>
                      <a:pt x="21127" y="11058"/>
                    </a:lnTo>
                    <a:lnTo>
                      <a:pt x="20790" y="10232"/>
                    </a:lnTo>
                    <a:close/>
                    <a:moveTo>
                      <a:pt x="20790" y="10232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</p:grpSp>
      </p:grpSp>
      <p:grpSp>
        <p:nvGrpSpPr>
          <p:cNvPr id="134" name="Group 133"/>
          <p:cNvGrpSpPr>
            <a:grpSpLocks/>
          </p:cNvGrpSpPr>
          <p:nvPr/>
        </p:nvGrpSpPr>
        <p:grpSpPr bwMode="gray">
          <a:xfrm>
            <a:off x="781060" y="5267325"/>
            <a:ext cx="272029" cy="266685"/>
            <a:chOff x="-356140" y="5930836"/>
            <a:chExt cx="350056" cy="350077"/>
          </a:xfrm>
        </p:grpSpPr>
        <p:sp>
          <p:nvSpPr>
            <p:cNvPr id="135" name="Oval 14"/>
            <p:cNvSpPr>
              <a:spLocks/>
            </p:cNvSpPr>
            <p:nvPr>
              <p:custDataLst>
                <p:tags r:id="rId120"/>
              </p:custDataLst>
            </p:nvPr>
          </p:nvSpPr>
          <p:spPr bwMode="gray">
            <a:xfrm>
              <a:off x="-356140" y="5930836"/>
              <a:ext cx="350056" cy="350077"/>
            </a:xfrm>
            <a:prstGeom prst="ellipse">
              <a:avLst/>
            </a:prstGeom>
            <a:solidFill>
              <a:srgbClr val="FFFFFF"/>
            </a:solidFill>
            <a:ln w="9525" cap="flat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  <p:grpSp>
          <p:nvGrpSpPr>
            <p:cNvPr id="136" name="Group 60"/>
            <p:cNvGrpSpPr>
              <a:grpSpLocks/>
            </p:cNvGrpSpPr>
            <p:nvPr>
              <p:custDataLst>
                <p:tags r:id="rId121"/>
              </p:custDataLst>
            </p:nvPr>
          </p:nvGrpSpPr>
          <p:grpSpPr bwMode="gray">
            <a:xfrm>
              <a:off x="-323323" y="6016168"/>
              <a:ext cx="284421" cy="163004"/>
              <a:chOff x="0" y="0"/>
              <a:chExt cx="259" cy="149"/>
            </a:xfrm>
            <a:solidFill>
              <a:schemeClr val="accent3"/>
            </a:solidFill>
          </p:grpSpPr>
          <p:sp>
            <p:nvSpPr>
              <p:cNvPr id="137" name="Freeform 41"/>
              <p:cNvSpPr>
                <a:spLocks/>
              </p:cNvSpPr>
              <p:nvPr/>
            </p:nvSpPr>
            <p:spPr bwMode="gray">
              <a:xfrm>
                <a:off x="30" y="71"/>
                <a:ext cx="13" cy="78"/>
              </a:xfrm>
              <a:custGeom>
                <a:avLst/>
                <a:gdLst>
                  <a:gd name="T0" fmla="*/ 14049 w 21600"/>
                  <a:gd name="T1" fmla="*/ 4956 h 21600"/>
                  <a:gd name="T2" fmla="*/ 14224 w 21600"/>
                  <a:gd name="T3" fmla="*/ 3552 h 21600"/>
                  <a:gd name="T4" fmla="*/ 15278 w 21600"/>
                  <a:gd name="T5" fmla="*/ 3123 h 21600"/>
                  <a:gd name="T6" fmla="*/ 16332 w 21600"/>
                  <a:gd name="T7" fmla="*/ 19308 h 21600"/>
                  <a:gd name="T8" fmla="*/ 16156 w 21600"/>
                  <a:gd name="T9" fmla="*/ 20769 h 21600"/>
                  <a:gd name="T10" fmla="*/ 15278 w 21600"/>
                  <a:gd name="T11" fmla="*/ 20912 h 21600"/>
                  <a:gd name="T12" fmla="*/ 14224 w 21600"/>
                  <a:gd name="T13" fmla="*/ 20884 h 21600"/>
                  <a:gd name="T14" fmla="*/ 14751 w 21600"/>
                  <a:gd name="T15" fmla="*/ 19967 h 21600"/>
                  <a:gd name="T16" fmla="*/ 14751 w 21600"/>
                  <a:gd name="T17" fmla="*/ 16529 h 21600"/>
                  <a:gd name="T18" fmla="*/ 14576 w 21600"/>
                  <a:gd name="T19" fmla="*/ 12719 h 21600"/>
                  <a:gd name="T20" fmla="*/ 14049 w 21600"/>
                  <a:gd name="T21" fmla="*/ 8480 h 21600"/>
                  <a:gd name="T22" fmla="*/ 12117 w 21600"/>
                  <a:gd name="T23" fmla="*/ 17503 h 21600"/>
                  <a:gd name="T24" fmla="*/ 11941 w 21600"/>
                  <a:gd name="T25" fmla="*/ 20769 h 21600"/>
                  <a:gd name="T26" fmla="*/ 11239 w 21600"/>
                  <a:gd name="T27" fmla="*/ 21056 h 21600"/>
                  <a:gd name="T28" fmla="*/ 10185 w 21600"/>
                  <a:gd name="T29" fmla="*/ 21027 h 21600"/>
                  <a:gd name="T30" fmla="*/ 10185 w 21600"/>
                  <a:gd name="T31" fmla="*/ 20569 h 21600"/>
                  <a:gd name="T32" fmla="*/ 10537 w 21600"/>
                  <a:gd name="T33" fmla="*/ 17102 h 21600"/>
                  <a:gd name="T34" fmla="*/ 10361 w 21600"/>
                  <a:gd name="T35" fmla="*/ 14352 h 21600"/>
                  <a:gd name="T36" fmla="*/ 10010 w 21600"/>
                  <a:gd name="T37" fmla="*/ 10284 h 21600"/>
                  <a:gd name="T38" fmla="*/ 0 w 21600"/>
                  <a:gd name="T39" fmla="*/ 21600 h 21600"/>
                  <a:gd name="T40" fmla="*/ 11590 w 21600"/>
                  <a:gd name="T41" fmla="*/ 21485 h 21600"/>
                  <a:gd name="T42" fmla="*/ 18615 w 21600"/>
                  <a:gd name="T43" fmla="*/ 21314 h 21600"/>
                  <a:gd name="T44" fmla="*/ 17210 w 21600"/>
                  <a:gd name="T45" fmla="*/ 3638 h 21600"/>
                  <a:gd name="T46" fmla="*/ 18966 w 21600"/>
                  <a:gd name="T47" fmla="*/ 2636 h 21600"/>
                  <a:gd name="T48" fmla="*/ 21424 w 21600"/>
                  <a:gd name="T49" fmla="*/ 1461 h 21600"/>
                  <a:gd name="T50" fmla="*/ 21600 w 21600"/>
                  <a:gd name="T51" fmla="*/ 802 h 21600"/>
                  <a:gd name="T52" fmla="*/ 21249 w 21600"/>
                  <a:gd name="T53" fmla="*/ 229 h 21600"/>
                  <a:gd name="T54" fmla="*/ 11766 w 21600"/>
                  <a:gd name="T55" fmla="*/ 86 h 21600"/>
                  <a:gd name="T56" fmla="*/ 2283 w 21600"/>
                  <a:gd name="T57" fmla="*/ 29 h 21600"/>
                  <a:gd name="T58" fmla="*/ 4917 w 21600"/>
                  <a:gd name="T59" fmla="*/ 258 h 21600"/>
                  <a:gd name="T60" fmla="*/ 14751 w 21600"/>
                  <a:gd name="T61" fmla="*/ 286 h 21600"/>
                  <a:gd name="T62" fmla="*/ 20020 w 21600"/>
                  <a:gd name="T63" fmla="*/ 802 h 21600"/>
                  <a:gd name="T64" fmla="*/ 15278 w 21600"/>
                  <a:gd name="T65" fmla="*/ 1289 h 21600"/>
                  <a:gd name="T66" fmla="*/ 5093 w 21600"/>
                  <a:gd name="T67" fmla="*/ 1289 h 21600"/>
                  <a:gd name="T68" fmla="*/ 11590 w 21600"/>
                  <a:gd name="T69" fmla="*/ 2005 h 21600"/>
                  <a:gd name="T70" fmla="*/ 14400 w 21600"/>
                  <a:gd name="T71" fmla="*/ 1518 h 21600"/>
                  <a:gd name="T72" fmla="*/ 20020 w 21600"/>
                  <a:gd name="T73" fmla="*/ 1518 h 21600"/>
                  <a:gd name="T74" fmla="*/ 17034 w 21600"/>
                  <a:gd name="T75" fmla="*/ 2521 h 21600"/>
                  <a:gd name="T76" fmla="*/ 14049 w 21600"/>
                  <a:gd name="T77" fmla="*/ 2521 h 21600"/>
                  <a:gd name="T78" fmla="*/ 10888 w 21600"/>
                  <a:gd name="T79" fmla="*/ 2521 h 21600"/>
                  <a:gd name="T80" fmla="*/ 11590 w 21600"/>
                  <a:gd name="T81" fmla="*/ 2005 h 21600"/>
                  <a:gd name="T82" fmla="*/ 4917 w 21600"/>
                  <a:gd name="T83" fmla="*/ 2779 h 21600"/>
                  <a:gd name="T84" fmla="*/ 13698 w 21600"/>
                  <a:gd name="T85" fmla="*/ 2779 h 21600"/>
                  <a:gd name="T86" fmla="*/ 16683 w 21600"/>
                  <a:gd name="T87" fmla="*/ 2951 h 21600"/>
                  <a:gd name="T88" fmla="*/ 15278 w 21600"/>
                  <a:gd name="T89" fmla="*/ 3094 h 21600"/>
                  <a:gd name="T90" fmla="*/ 9132 w 21600"/>
                  <a:gd name="T91" fmla="*/ 3094 h 21600"/>
                  <a:gd name="T92" fmla="*/ 2459 w 21600"/>
                  <a:gd name="T93" fmla="*/ 3065 h 21600"/>
                  <a:gd name="T94" fmla="*/ 9659 w 21600"/>
                  <a:gd name="T95" fmla="*/ 5357 h 21600"/>
                  <a:gd name="T96" fmla="*/ 9659 w 21600"/>
                  <a:gd name="T97" fmla="*/ 4956 h 21600"/>
                  <a:gd name="T98" fmla="*/ 10010 w 21600"/>
                  <a:gd name="T99" fmla="*/ 3294 h 21600"/>
                  <a:gd name="T100" fmla="*/ 11239 w 21600"/>
                  <a:gd name="T101" fmla="*/ 3237 h 21600"/>
                  <a:gd name="T102" fmla="*/ 11415 w 21600"/>
                  <a:gd name="T103" fmla="*/ 5214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00" h="21600">
                    <a:moveTo>
                      <a:pt x="14049" y="5386"/>
                    </a:moveTo>
                    <a:lnTo>
                      <a:pt x="14049" y="5242"/>
                    </a:lnTo>
                    <a:lnTo>
                      <a:pt x="14049" y="5071"/>
                    </a:lnTo>
                    <a:lnTo>
                      <a:pt x="14049" y="4956"/>
                    </a:lnTo>
                    <a:lnTo>
                      <a:pt x="14049" y="4813"/>
                    </a:lnTo>
                    <a:lnTo>
                      <a:pt x="14224" y="4383"/>
                    </a:lnTo>
                    <a:lnTo>
                      <a:pt x="14224" y="3982"/>
                    </a:lnTo>
                    <a:lnTo>
                      <a:pt x="14224" y="3552"/>
                    </a:lnTo>
                    <a:lnTo>
                      <a:pt x="14224" y="3180"/>
                    </a:lnTo>
                    <a:lnTo>
                      <a:pt x="14576" y="3123"/>
                    </a:lnTo>
                    <a:lnTo>
                      <a:pt x="14751" y="3123"/>
                    </a:lnTo>
                    <a:lnTo>
                      <a:pt x="15278" y="3123"/>
                    </a:lnTo>
                    <a:lnTo>
                      <a:pt x="15454" y="3094"/>
                    </a:lnTo>
                    <a:lnTo>
                      <a:pt x="15980" y="12290"/>
                    </a:lnTo>
                    <a:lnTo>
                      <a:pt x="16332" y="17160"/>
                    </a:lnTo>
                    <a:lnTo>
                      <a:pt x="16332" y="19308"/>
                    </a:lnTo>
                    <a:lnTo>
                      <a:pt x="16332" y="20425"/>
                    </a:lnTo>
                    <a:lnTo>
                      <a:pt x="16332" y="20540"/>
                    </a:lnTo>
                    <a:lnTo>
                      <a:pt x="16332" y="20626"/>
                    </a:lnTo>
                    <a:lnTo>
                      <a:pt x="16156" y="20769"/>
                    </a:lnTo>
                    <a:lnTo>
                      <a:pt x="16156" y="20855"/>
                    </a:lnTo>
                    <a:lnTo>
                      <a:pt x="15805" y="20884"/>
                    </a:lnTo>
                    <a:lnTo>
                      <a:pt x="15629" y="20912"/>
                    </a:lnTo>
                    <a:lnTo>
                      <a:pt x="15278" y="20912"/>
                    </a:lnTo>
                    <a:lnTo>
                      <a:pt x="14576" y="20912"/>
                    </a:lnTo>
                    <a:lnTo>
                      <a:pt x="14400" y="20912"/>
                    </a:lnTo>
                    <a:lnTo>
                      <a:pt x="14400" y="20884"/>
                    </a:lnTo>
                    <a:lnTo>
                      <a:pt x="14224" y="20884"/>
                    </a:lnTo>
                    <a:lnTo>
                      <a:pt x="14049" y="20884"/>
                    </a:lnTo>
                    <a:lnTo>
                      <a:pt x="14400" y="20683"/>
                    </a:lnTo>
                    <a:lnTo>
                      <a:pt x="14576" y="20425"/>
                    </a:lnTo>
                    <a:lnTo>
                      <a:pt x="14751" y="19967"/>
                    </a:lnTo>
                    <a:lnTo>
                      <a:pt x="14927" y="19108"/>
                    </a:lnTo>
                    <a:lnTo>
                      <a:pt x="14927" y="17790"/>
                    </a:lnTo>
                    <a:lnTo>
                      <a:pt x="14751" y="16959"/>
                    </a:lnTo>
                    <a:lnTo>
                      <a:pt x="14751" y="16529"/>
                    </a:lnTo>
                    <a:lnTo>
                      <a:pt x="14576" y="16300"/>
                    </a:lnTo>
                    <a:lnTo>
                      <a:pt x="14751" y="15555"/>
                    </a:lnTo>
                    <a:lnTo>
                      <a:pt x="14751" y="14238"/>
                    </a:lnTo>
                    <a:lnTo>
                      <a:pt x="14576" y="12719"/>
                    </a:lnTo>
                    <a:lnTo>
                      <a:pt x="14224" y="11258"/>
                    </a:lnTo>
                    <a:lnTo>
                      <a:pt x="14224" y="11001"/>
                    </a:lnTo>
                    <a:lnTo>
                      <a:pt x="14224" y="10198"/>
                    </a:lnTo>
                    <a:lnTo>
                      <a:pt x="14049" y="8480"/>
                    </a:lnTo>
                    <a:lnTo>
                      <a:pt x="14049" y="5386"/>
                    </a:lnTo>
                    <a:lnTo>
                      <a:pt x="11415" y="5214"/>
                    </a:lnTo>
                    <a:lnTo>
                      <a:pt x="11941" y="13206"/>
                    </a:lnTo>
                    <a:lnTo>
                      <a:pt x="12117" y="17503"/>
                    </a:lnTo>
                    <a:lnTo>
                      <a:pt x="12293" y="19509"/>
                    </a:lnTo>
                    <a:lnTo>
                      <a:pt x="12117" y="20569"/>
                    </a:lnTo>
                    <a:lnTo>
                      <a:pt x="12117" y="20655"/>
                    </a:lnTo>
                    <a:lnTo>
                      <a:pt x="11941" y="20769"/>
                    </a:lnTo>
                    <a:lnTo>
                      <a:pt x="11941" y="20884"/>
                    </a:lnTo>
                    <a:lnTo>
                      <a:pt x="11766" y="20998"/>
                    </a:lnTo>
                    <a:lnTo>
                      <a:pt x="11415" y="21027"/>
                    </a:lnTo>
                    <a:lnTo>
                      <a:pt x="11239" y="21056"/>
                    </a:lnTo>
                    <a:lnTo>
                      <a:pt x="10712" y="21056"/>
                    </a:lnTo>
                    <a:lnTo>
                      <a:pt x="10361" y="21056"/>
                    </a:lnTo>
                    <a:lnTo>
                      <a:pt x="10185" y="21027"/>
                    </a:lnTo>
                    <a:lnTo>
                      <a:pt x="10010" y="21027"/>
                    </a:lnTo>
                    <a:lnTo>
                      <a:pt x="9659" y="21027"/>
                    </a:lnTo>
                    <a:lnTo>
                      <a:pt x="10010" y="20827"/>
                    </a:lnTo>
                    <a:lnTo>
                      <a:pt x="10185" y="20569"/>
                    </a:lnTo>
                    <a:lnTo>
                      <a:pt x="10361" y="20110"/>
                    </a:lnTo>
                    <a:lnTo>
                      <a:pt x="10537" y="19222"/>
                    </a:lnTo>
                    <a:lnTo>
                      <a:pt x="10537" y="17933"/>
                    </a:lnTo>
                    <a:lnTo>
                      <a:pt x="10537" y="17102"/>
                    </a:lnTo>
                    <a:lnTo>
                      <a:pt x="10537" y="16673"/>
                    </a:lnTo>
                    <a:lnTo>
                      <a:pt x="10361" y="16444"/>
                    </a:lnTo>
                    <a:lnTo>
                      <a:pt x="10361" y="15670"/>
                    </a:lnTo>
                    <a:lnTo>
                      <a:pt x="10361" y="14352"/>
                    </a:lnTo>
                    <a:lnTo>
                      <a:pt x="10185" y="12834"/>
                    </a:lnTo>
                    <a:lnTo>
                      <a:pt x="10010" y="11402"/>
                    </a:lnTo>
                    <a:lnTo>
                      <a:pt x="10010" y="11086"/>
                    </a:lnTo>
                    <a:lnTo>
                      <a:pt x="10010" y="10284"/>
                    </a:lnTo>
                    <a:lnTo>
                      <a:pt x="9659" y="8508"/>
                    </a:lnTo>
                    <a:lnTo>
                      <a:pt x="9659" y="5357"/>
                    </a:lnTo>
                    <a:lnTo>
                      <a:pt x="0" y="5328"/>
                    </a:lnTo>
                    <a:lnTo>
                      <a:pt x="0" y="21600"/>
                    </a:lnTo>
                    <a:lnTo>
                      <a:pt x="2985" y="21600"/>
                    </a:lnTo>
                    <a:lnTo>
                      <a:pt x="6146" y="21543"/>
                    </a:lnTo>
                    <a:lnTo>
                      <a:pt x="8956" y="21514"/>
                    </a:lnTo>
                    <a:lnTo>
                      <a:pt x="11590" y="21485"/>
                    </a:lnTo>
                    <a:lnTo>
                      <a:pt x="14049" y="21457"/>
                    </a:lnTo>
                    <a:lnTo>
                      <a:pt x="15980" y="21428"/>
                    </a:lnTo>
                    <a:lnTo>
                      <a:pt x="17561" y="21342"/>
                    </a:lnTo>
                    <a:lnTo>
                      <a:pt x="18615" y="21314"/>
                    </a:lnTo>
                    <a:lnTo>
                      <a:pt x="18790" y="18879"/>
                    </a:lnTo>
                    <a:lnTo>
                      <a:pt x="18790" y="14180"/>
                    </a:lnTo>
                    <a:lnTo>
                      <a:pt x="18615" y="8680"/>
                    </a:lnTo>
                    <a:lnTo>
                      <a:pt x="17210" y="3638"/>
                    </a:lnTo>
                    <a:lnTo>
                      <a:pt x="17561" y="3380"/>
                    </a:lnTo>
                    <a:lnTo>
                      <a:pt x="18263" y="3094"/>
                    </a:lnTo>
                    <a:lnTo>
                      <a:pt x="18790" y="2836"/>
                    </a:lnTo>
                    <a:lnTo>
                      <a:pt x="18966" y="2636"/>
                    </a:lnTo>
                    <a:lnTo>
                      <a:pt x="19317" y="2349"/>
                    </a:lnTo>
                    <a:lnTo>
                      <a:pt x="20020" y="2034"/>
                    </a:lnTo>
                    <a:lnTo>
                      <a:pt x="20898" y="1747"/>
                    </a:lnTo>
                    <a:lnTo>
                      <a:pt x="21424" y="1461"/>
                    </a:lnTo>
                    <a:lnTo>
                      <a:pt x="21600" y="1260"/>
                    </a:lnTo>
                    <a:lnTo>
                      <a:pt x="21600" y="1060"/>
                    </a:lnTo>
                    <a:lnTo>
                      <a:pt x="21600" y="917"/>
                    </a:lnTo>
                    <a:lnTo>
                      <a:pt x="21600" y="802"/>
                    </a:lnTo>
                    <a:lnTo>
                      <a:pt x="21600" y="716"/>
                    </a:lnTo>
                    <a:lnTo>
                      <a:pt x="21600" y="516"/>
                    </a:lnTo>
                    <a:lnTo>
                      <a:pt x="21424" y="372"/>
                    </a:lnTo>
                    <a:lnTo>
                      <a:pt x="21249" y="229"/>
                    </a:lnTo>
                    <a:lnTo>
                      <a:pt x="21073" y="57"/>
                    </a:lnTo>
                    <a:lnTo>
                      <a:pt x="17561" y="86"/>
                    </a:lnTo>
                    <a:lnTo>
                      <a:pt x="14576" y="86"/>
                    </a:lnTo>
                    <a:lnTo>
                      <a:pt x="11766" y="86"/>
                    </a:lnTo>
                    <a:lnTo>
                      <a:pt x="9132" y="86"/>
                    </a:lnTo>
                    <a:lnTo>
                      <a:pt x="6673" y="57"/>
                    </a:lnTo>
                    <a:lnTo>
                      <a:pt x="4566" y="57"/>
                    </a:lnTo>
                    <a:lnTo>
                      <a:pt x="2283" y="29"/>
                    </a:lnTo>
                    <a:lnTo>
                      <a:pt x="0" y="0"/>
                    </a:lnTo>
                    <a:lnTo>
                      <a:pt x="0" y="258"/>
                    </a:lnTo>
                    <a:lnTo>
                      <a:pt x="2459" y="258"/>
                    </a:lnTo>
                    <a:lnTo>
                      <a:pt x="4917" y="258"/>
                    </a:lnTo>
                    <a:lnTo>
                      <a:pt x="7376" y="258"/>
                    </a:lnTo>
                    <a:lnTo>
                      <a:pt x="10010" y="258"/>
                    </a:lnTo>
                    <a:lnTo>
                      <a:pt x="12293" y="286"/>
                    </a:lnTo>
                    <a:lnTo>
                      <a:pt x="14751" y="286"/>
                    </a:lnTo>
                    <a:lnTo>
                      <a:pt x="17210" y="286"/>
                    </a:lnTo>
                    <a:lnTo>
                      <a:pt x="19668" y="286"/>
                    </a:lnTo>
                    <a:lnTo>
                      <a:pt x="19844" y="516"/>
                    </a:lnTo>
                    <a:lnTo>
                      <a:pt x="20020" y="802"/>
                    </a:lnTo>
                    <a:lnTo>
                      <a:pt x="20020" y="1031"/>
                    </a:lnTo>
                    <a:lnTo>
                      <a:pt x="20195" y="1289"/>
                    </a:lnTo>
                    <a:lnTo>
                      <a:pt x="17912" y="1289"/>
                    </a:lnTo>
                    <a:lnTo>
                      <a:pt x="15278" y="1289"/>
                    </a:lnTo>
                    <a:lnTo>
                      <a:pt x="12820" y="1289"/>
                    </a:lnTo>
                    <a:lnTo>
                      <a:pt x="10185" y="1289"/>
                    </a:lnTo>
                    <a:lnTo>
                      <a:pt x="7727" y="1289"/>
                    </a:lnTo>
                    <a:lnTo>
                      <a:pt x="5093" y="1289"/>
                    </a:lnTo>
                    <a:lnTo>
                      <a:pt x="2634" y="1289"/>
                    </a:lnTo>
                    <a:lnTo>
                      <a:pt x="0" y="1289"/>
                    </a:lnTo>
                    <a:lnTo>
                      <a:pt x="0" y="1977"/>
                    </a:lnTo>
                    <a:lnTo>
                      <a:pt x="11590" y="2005"/>
                    </a:lnTo>
                    <a:lnTo>
                      <a:pt x="11941" y="1891"/>
                    </a:lnTo>
                    <a:lnTo>
                      <a:pt x="12644" y="1747"/>
                    </a:lnTo>
                    <a:lnTo>
                      <a:pt x="13346" y="1662"/>
                    </a:lnTo>
                    <a:lnTo>
                      <a:pt x="14400" y="1518"/>
                    </a:lnTo>
                    <a:lnTo>
                      <a:pt x="15805" y="1518"/>
                    </a:lnTo>
                    <a:lnTo>
                      <a:pt x="17210" y="1518"/>
                    </a:lnTo>
                    <a:lnTo>
                      <a:pt x="18615" y="1518"/>
                    </a:lnTo>
                    <a:lnTo>
                      <a:pt x="20020" y="1518"/>
                    </a:lnTo>
                    <a:lnTo>
                      <a:pt x="18790" y="1747"/>
                    </a:lnTo>
                    <a:lnTo>
                      <a:pt x="17912" y="2005"/>
                    </a:lnTo>
                    <a:lnTo>
                      <a:pt x="17210" y="2234"/>
                    </a:lnTo>
                    <a:lnTo>
                      <a:pt x="17034" y="2521"/>
                    </a:lnTo>
                    <a:lnTo>
                      <a:pt x="16156" y="2521"/>
                    </a:lnTo>
                    <a:lnTo>
                      <a:pt x="15629" y="2521"/>
                    </a:lnTo>
                    <a:lnTo>
                      <a:pt x="14751" y="2521"/>
                    </a:lnTo>
                    <a:lnTo>
                      <a:pt x="14049" y="2521"/>
                    </a:lnTo>
                    <a:lnTo>
                      <a:pt x="13171" y="2521"/>
                    </a:lnTo>
                    <a:lnTo>
                      <a:pt x="12644" y="2521"/>
                    </a:lnTo>
                    <a:lnTo>
                      <a:pt x="11766" y="2521"/>
                    </a:lnTo>
                    <a:lnTo>
                      <a:pt x="10888" y="2521"/>
                    </a:lnTo>
                    <a:lnTo>
                      <a:pt x="10888" y="2378"/>
                    </a:lnTo>
                    <a:lnTo>
                      <a:pt x="10888" y="2234"/>
                    </a:lnTo>
                    <a:lnTo>
                      <a:pt x="11239" y="2149"/>
                    </a:lnTo>
                    <a:lnTo>
                      <a:pt x="11590" y="2005"/>
                    </a:lnTo>
                    <a:lnTo>
                      <a:pt x="0" y="1977"/>
                    </a:lnTo>
                    <a:lnTo>
                      <a:pt x="0" y="2779"/>
                    </a:lnTo>
                    <a:lnTo>
                      <a:pt x="2459" y="2779"/>
                    </a:lnTo>
                    <a:lnTo>
                      <a:pt x="4917" y="2779"/>
                    </a:lnTo>
                    <a:lnTo>
                      <a:pt x="7376" y="2779"/>
                    </a:lnTo>
                    <a:lnTo>
                      <a:pt x="9659" y="2779"/>
                    </a:lnTo>
                    <a:lnTo>
                      <a:pt x="11766" y="2779"/>
                    </a:lnTo>
                    <a:lnTo>
                      <a:pt x="13698" y="2779"/>
                    </a:lnTo>
                    <a:lnTo>
                      <a:pt x="15454" y="2807"/>
                    </a:lnTo>
                    <a:lnTo>
                      <a:pt x="16859" y="2807"/>
                    </a:lnTo>
                    <a:lnTo>
                      <a:pt x="16683" y="2865"/>
                    </a:lnTo>
                    <a:lnTo>
                      <a:pt x="16683" y="2951"/>
                    </a:lnTo>
                    <a:lnTo>
                      <a:pt x="16683" y="3008"/>
                    </a:lnTo>
                    <a:lnTo>
                      <a:pt x="16683" y="3065"/>
                    </a:lnTo>
                    <a:lnTo>
                      <a:pt x="15805" y="3065"/>
                    </a:lnTo>
                    <a:lnTo>
                      <a:pt x="15278" y="3094"/>
                    </a:lnTo>
                    <a:lnTo>
                      <a:pt x="14400" y="3094"/>
                    </a:lnTo>
                    <a:lnTo>
                      <a:pt x="13698" y="3123"/>
                    </a:lnTo>
                    <a:lnTo>
                      <a:pt x="11415" y="3123"/>
                    </a:lnTo>
                    <a:lnTo>
                      <a:pt x="9132" y="3094"/>
                    </a:lnTo>
                    <a:lnTo>
                      <a:pt x="7024" y="3094"/>
                    </a:lnTo>
                    <a:lnTo>
                      <a:pt x="5444" y="3094"/>
                    </a:lnTo>
                    <a:lnTo>
                      <a:pt x="3863" y="3065"/>
                    </a:lnTo>
                    <a:lnTo>
                      <a:pt x="2459" y="3065"/>
                    </a:lnTo>
                    <a:lnTo>
                      <a:pt x="1229" y="3065"/>
                    </a:lnTo>
                    <a:lnTo>
                      <a:pt x="0" y="3065"/>
                    </a:lnTo>
                    <a:lnTo>
                      <a:pt x="0" y="5328"/>
                    </a:lnTo>
                    <a:lnTo>
                      <a:pt x="9659" y="5357"/>
                    </a:lnTo>
                    <a:lnTo>
                      <a:pt x="9659" y="5242"/>
                    </a:lnTo>
                    <a:lnTo>
                      <a:pt x="9659" y="5156"/>
                    </a:lnTo>
                    <a:lnTo>
                      <a:pt x="9659" y="5042"/>
                    </a:lnTo>
                    <a:lnTo>
                      <a:pt x="9659" y="4956"/>
                    </a:lnTo>
                    <a:lnTo>
                      <a:pt x="9659" y="4526"/>
                    </a:lnTo>
                    <a:lnTo>
                      <a:pt x="9659" y="4125"/>
                    </a:lnTo>
                    <a:lnTo>
                      <a:pt x="9659" y="3695"/>
                    </a:lnTo>
                    <a:lnTo>
                      <a:pt x="10010" y="3294"/>
                    </a:lnTo>
                    <a:lnTo>
                      <a:pt x="10361" y="3266"/>
                    </a:lnTo>
                    <a:lnTo>
                      <a:pt x="10537" y="3266"/>
                    </a:lnTo>
                    <a:lnTo>
                      <a:pt x="10888" y="3266"/>
                    </a:lnTo>
                    <a:lnTo>
                      <a:pt x="11239" y="3237"/>
                    </a:lnTo>
                    <a:lnTo>
                      <a:pt x="11239" y="3753"/>
                    </a:lnTo>
                    <a:lnTo>
                      <a:pt x="11415" y="4268"/>
                    </a:lnTo>
                    <a:lnTo>
                      <a:pt x="11415" y="4727"/>
                    </a:lnTo>
                    <a:lnTo>
                      <a:pt x="11415" y="5214"/>
                    </a:lnTo>
                    <a:lnTo>
                      <a:pt x="14049" y="5386"/>
                    </a:lnTo>
                    <a:close/>
                    <a:moveTo>
                      <a:pt x="14049" y="5386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38" name="Freeform 42"/>
              <p:cNvSpPr>
                <a:spLocks/>
              </p:cNvSpPr>
              <p:nvPr/>
            </p:nvSpPr>
            <p:spPr bwMode="gray">
              <a:xfrm>
                <a:off x="18" y="71"/>
                <a:ext cx="12" cy="10"/>
              </a:xfrm>
              <a:custGeom>
                <a:avLst/>
                <a:gdLst>
                  <a:gd name="T0" fmla="*/ 188 w 21600"/>
                  <a:gd name="T1" fmla="*/ 1925 h 21600"/>
                  <a:gd name="T2" fmla="*/ 0 w 21600"/>
                  <a:gd name="T3" fmla="*/ 4919 h 21600"/>
                  <a:gd name="T4" fmla="*/ 2442 w 21600"/>
                  <a:gd name="T5" fmla="*/ 6630 h 21600"/>
                  <a:gd name="T6" fmla="*/ 2442 w 21600"/>
                  <a:gd name="T7" fmla="*/ 8127 h 21600"/>
                  <a:gd name="T8" fmla="*/ 2254 w 21600"/>
                  <a:gd name="T9" fmla="*/ 9624 h 21600"/>
                  <a:gd name="T10" fmla="*/ 7137 w 21600"/>
                  <a:gd name="T11" fmla="*/ 9624 h 21600"/>
                  <a:gd name="T12" fmla="*/ 11833 w 21600"/>
                  <a:gd name="T13" fmla="*/ 9624 h 21600"/>
                  <a:gd name="T14" fmla="*/ 16904 w 21600"/>
                  <a:gd name="T15" fmla="*/ 9624 h 21600"/>
                  <a:gd name="T16" fmla="*/ 21600 w 21600"/>
                  <a:gd name="T17" fmla="*/ 9624 h 21600"/>
                  <a:gd name="T18" fmla="*/ 2817 w 21600"/>
                  <a:gd name="T19" fmla="*/ 14329 h 21600"/>
                  <a:gd name="T20" fmla="*/ 5259 w 21600"/>
                  <a:gd name="T21" fmla="*/ 17109 h 21600"/>
                  <a:gd name="T22" fmla="*/ 6762 w 21600"/>
                  <a:gd name="T23" fmla="*/ 20103 h 21600"/>
                  <a:gd name="T24" fmla="*/ 6574 w 21600"/>
                  <a:gd name="T25" fmla="*/ 20958 h 21600"/>
                  <a:gd name="T26" fmla="*/ 6574 w 21600"/>
                  <a:gd name="T27" fmla="*/ 21600 h 21600"/>
                  <a:gd name="T28" fmla="*/ 8077 w 21600"/>
                  <a:gd name="T29" fmla="*/ 21386 h 21600"/>
                  <a:gd name="T30" fmla="*/ 8077 w 21600"/>
                  <a:gd name="T31" fmla="*/ 20958 h 21600"/>
                  <a:gd name="T32" fmla="*/ 8828 w 21600"/>
                  <a:gd name="T33" fmla="*/ 20745 h 21600"/>
                  <a:gd name="T34" fmla="*/ 11270 w 21600"/>
                  <a:gd name="T35" fmla="*/ 20745 h 21600"/>
                  <a:gd name="T36" fmla="*/ 14838 w 21600"/>
                  <a:gd name="T37" fmla="*/ 20745 h 21600"/>
                  <a:gd name="T38" fmla="*/ 19158 w 21600"/>
                  <a:gd name="T39" fmla="*/ 20745 h 21600"/>
                  <a:gd name="T40" fmla="*/ 21600 w 21600"/>
                  <a:gd name="T41" fmla="*/ 14756 h 21600"/>
                  <a:gd name="T42" fmla="*/ 1878 w 21600"/>
                  <a:gd name="T43" fmla="*/ 13259 h 21600"/>
                  <a:gd name="T44" fmla="*/ 563 w 21600"/>
                  <a:gd name="T45" fmla="*/ 11549 h 21600"/>
                  <a:gd name="T46" fmla="*/ 188 w 21600"/>
                  <a:gd name="T47" fmla="*/ 9624 h 21600"/>
                  <a:gd name="T48" fmla="*/ 188 w 21600"/>
                  <a:gd name="T49" fmla="*/ 7699 h 21600"/>
                  <a:gd name="T50" fmla="*/ 2442 w 21600"/>
                  <a:gd name="T51" fmla="*/ 6630 h 21600"/>
                  <a:gd name="T52" fmla="*/ 2630 w 21600"/>
                  <a:gd name="T53" fmla="*/ 4277 h 21600"/>
                  <a:gd name="T54" fmla="*/ 2630 w 21600"/>
                  <a:gd name="T55" fmla="*/ 1925 h 21600"/>
                  <a:gd name="T56" fmla="*/ 7325 w 21600"/>
                  <a:gd name="T57" fmla="*/ 1925 h 21600"/>
                  <a:gd name="T58" fmla="*/ 12021 w 21600"/>
                  <a:gd name="T59" fmla="*/ 1925 h 21600"/>
                  <a:gd name="T60" fmla="*/ 16904 w 21600"/>
                  <a:gd name="T61" fmla="*/ 1925 h 21600"/>
                  <a:gd name="T62" fmla="*/ 21600 w 21600"/>
                  <a:gd name="T63" fmla="*/ 1925 h 21600"/>
                  <a:gd name="T64" fmla="*/ 939 w 21600"/>
                  <a:gd name="T65" fmla="*/ 42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600" h="21600">
                    <a:moveTo>
                      <a:pt x="939" y="428"/>
                    </a:moveTo>
                    <a:lnTo>
                      <a:pt x="188" y="1925"/>
                    </a:lnTo>
                    <a:lnTo>
                      <a:pt x="0" y="3422"/>
                    </a:lnTo>
                    <a:lnTo>
                      <a:pt x="0" y="4919"/>
                    </a:lnTo>
                    <a:lnTo>
                      <a:pt x="0" y="6630"/>
                    </a:lnTo>
                    <a:lnTo>
                      <a:pt x="2442" y="6630"/>
                    </a:lnTo>
                    <a:lnTo>
                      <a:pt x="2442" y="7485"/>
                    </a:lnTo>
                    <a:lnTo>
                      <a:pt x="2442" y="8127"/>
                    </a:lnTo>
                    <a:lnTo>
                      <a:pt x="2254" y="8768"/>
                    </a:lnTo>
                    <a:lnTo>
                      <a:pt x="2254" y="9624"/>
                    </a:lnTo>
                    <a:lnTo>
                      <a:pt x="4508" y="9624"/>
                    </a:lnTo>
                    <a:lnTo>
                      <a:pt x="7137" y="9624"/>
                    </a:lnTo>
                    <a:lnTo>
                      <a:pt x="9579" y="9624"/>
                    </a:lnTo>
                    <a:lnTo>
                      <a:pt x="11833" y="9624"/>
                    </a:lnTo>
                    <a:lnTo>
                      <a:pt x="14275" y="9624"/>
                    </a:lnTo>
                    <a:lnTo>
                      <a:pt x="16904" y="9624"/>
                    </a:lnTo>
                    <a:lnTo>
                      <a:pt x="19158" y="9624"/>
                    </a:lnTo>
                    <a:lnTo>
                      <a:pt x="21600" y="9624"/>
                    </a:lnTo>
                    <a:lnTo>
                      <a:pt x="21600" y="14756"/>
                    </a:lnTo>
                    <a:lnTo>
                      <a:pt x="2817" y="14329"/>
                    </a:lnTo>
                    <a:lnTo>
                      <a:pt x="4132" y="15612"/>
                    </a:lnTo>
                    <a:lnTo>
                      <a:pt x="5259" y="17109"/>
                    </a:lnTo>
                    <a:lnTo>
                      <a:pt x="6010" y="18392"/>
                    </a:lnTo>
                    <a:lnTo>
                      <a:pt x="6762" y="20103"/>
                    </a:lnTo>
                    <a:lnTo>
                      <a:pt x="6574" y="20531"/>
                    </a:lnTo>
                    <a:lnTo>
                      <a:pt x="6574" y="20958"/>
                    </a:lnTo>
                    <a:lnTo>
                      <a:pt x="6574" y="21172"/>
                    </a:lnTo>
                    <a:lnTo>
                      <a:pt x="6574" y="21600"/>
                    </a:lnTo>
                    <a:lnTo>
                      <a:pt x="8264" y="21600"/>
                    </a:lnTo>
                    <a:lnTo>
                      <a:pt x="8077" y="21386"/>
                    </a:lnTo>
                    <a:lnTo>
                      <a:pt x="8077" y="21172"/>
                    </a:lnTo>
                    <a:lnTo>
                      <a:pt x="8077" y="20958"/>
                    </a:lnTo>
                    <a:lnTo>
                      <a:pt x="8077" y="20745"/>
                    </a:lnTo>
                    <a:lnTo>
                      <a:pt x="8828" y="20745"/>
                    </a:lnTo>
                    <a:lnTo>
                      <a:pt x="9955" y="20745"/>
                    </a:lnTo>
                    <a:lnTo>
                      <a:pt x="11270" y="20745"/>
                    </a:lnTo>
                    <a:lnTo>
                      <a:pt x="12960" y="20745"/>
                    </a:lnTo>
                    <a:lnTo>
                      <a:pt x="14838" y="20745"/>
                    </a:lnTo>
                    <a:lnTo>
                      <a:pt x="17092" y="20745"/>
                    </a:lnTo>
                    <a:lnTo>
                      <a:pt x="19158" y="20745"/>
                    </a:lnTo>
                    <a:lnTo>
                      <a:pt x="21600" y="20745"/>
                    </a:lnTo>
                    <a:lnTo>
                      <a:pt x="21600" y="14756"/>
                    </a:lnTo>
                    <a:lnTo>
                      <a:pt x="2817" y="14329"/>
                    </a:lnTo>
                    <a:lnTo>
                      <a:pt x="1878" y="13259"/>
                    </a:lnTo>
                    <a:lnTo>
                      <a:pt x="1315" y="12618"/>
                    </a:lnTo>
                    <a:lnTo>
                      <a:pt x="563" y="11549"/>
                    </a:lnTo>
                    <a:lnTo>
                      <a:pt x="188" y="10693"/>
                    </a:lnTo>
                    <a:lnTo>
                      <a:pt x="188" y="9624"/>
                    </a:lnTo>
                    <a:lnTo>
                      <a:pt x="188" y="8554"/>
                    </a:lnTo>
                    <a:lnTo>
                      <a:pt x="188" y="7699"/>
                    </a:lnTo>
                    <a:lnTo>
                      <a:pt x="0" y="6630"/>
                    </a:lnTo>
                    <a:lnTo>
                      <a:pt x="2442" y="6630"/>
                    </a:lnTo>
                    <a:lnTo>
                      <a:pt x="2442" y="5347"/>
                    </a:lnTo>
                    <a:lnTo>
                      <a:pt x="2630" y="4277"/>
                    </a:lnTo>
                    <a:lnTo>
                      <a:pt x="2630" y="3208"/>
                    </a:lnTo>
                    <a:lnTo>
                      <a:pt x="2630" y="1925"/>
                    </a:lnTo>
                    <a:lnTo>
                      <a:pt x="4883" y="1925"/>
                    </a:lnTo>
                    <a:lnTo>
                      <a:pt x="7325" y="1925"/>
                    </a:lnTo>
                    <a:lnTo>
                      <a:pt x="9767" y="1925"/>
                    </a:lnTo>
                    <a:lnTo>
                      <a:pt x="12021" y="1925"/>
                    </a:lnTo>
                    <a:lnTo>
                      <a:pt x="14463" y="1925"/>
                    </a:lnTo>
                    <a:lnTo>
                      <a:pt x="16904" y="1925"/>
                    </a:lnTo>
                    <a:lnTo>
                      <a:pt x="19158" y="1925"/>
                    </a:lnTo>
                    <a:lnTo>
                      <a:pt x="21600" y="1925"/>
                    </a:lnTo>
                    <a:lnTo>
                      <a:pt x="21600" y="0"/>
                    </a:lnTo>
                    <a:lnTo>
                      <a:pt x="939" y="428"/>
                    </a:lnTo>
                    <a:close/>
                    <a:moveTo>
                      <a:pt x="939" y="42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39" name="Freeform 43"/>
              <p:cNvSpPr>
                <a:spLocks/>
              </p:cNvSpPr>
              <p:nvPr/>
            </p:nvSpPr>
            <p:spPr bwMode="gray">
              <a:xfrm>
                <a:off x="20" y="81"/>
                <a:ext cx="10" cy="68"/>
              </a:xfrm>
              <a:custGeom>
                <a:avLst/>
                <a:gdLst>
                  <a:gd name="T0" fmla="*/ 21600 w 21600"/>
                  <a:gd name="T1" fmla="*/ 2812 h 21600"/>
                  <a:gd name="T2" fmla="*/ 7412 w 21600"/>
                  <a:gd name="T3" fmla="*/ 2183 h 21600"/>
                  <a:gd name="T4" fmla="*/ 7412 w 21600"/>
                  <a:gd name="T5" fmla="*/ 1092 h 21600"/>
                  <a:gd name="T6" fmla="*/ 7200 w 21600"/>
                  <a:gd name="T7" fmla="*/ 496 h 21600"/>
                  <a:gd name="T8" fmla="*/ 6565 w 21600"/>
                  <a:gd name="T9" fmla="*/ 496 h 21600"/>
                  <a:gd name="T10" fmla="*/ 5929 w 21600"/>
                  <a:gd name="T11" fmla="*/ 959 h 21600"/>
                  <a:gd name="T12" fmla="*/ 5718 w 21600"/>
                  <a:gd name="T13" fmla="*/ 1952 h 21600"/>
                  <a:gd name="T14" fmla="*/ 5082 w 21600"/>
                  <a:gd name="T15" fmla="*/ 3936 h 21600"/>
                  <a:gd name="T16" fmla="*/ 4235 w 21600"/>
                  <a:gd name="T17" fmla="*/ 8170 h 21600"/>
                  <a:gd name="T18" fmla="*/ 3812 w 21600"/>
                  <a:gd name="T19" fmla="*/ 12107 h 21600"/>
                  <a:gd name="T20" fmla="*/ 3388 w 21600"/>
                  <a:gd name="T21" fmla="*/ 13760 h 21600"/>
                  <a:gd name="T22" fmla="*/ 2541 w 21600"/>
                  <a:gd name="T23" fmla="*/ 16241 h 21600"/>
                  <a:gd name="T24" fmla="*/ 2329 w 21600"/>
                  <a:gd name="T25" fmla="*/ 18491 h 21600"/>
                  <a:gd name="T26" fmla="*/ 2329 w 21600"/>
                  <a:gd name="T27" fmla="*/ 21104 h 21600"/>
                  <a:gd name="T28" fmla="*/ 3600 w 21600"/>
                  <a:gd name="T29" fmla="*/ 21038 h 21600"/>
                  <a:gd name="T30" fmla="*/ 4235 w 21600"/>
                  <a:gd name="T31" fmla="*/ 20674 h 21600"/>
                  <a:gd name="T32" fmla="*/ 4659 w 21600"/>
                  <a:gd name="T33" fmla="*/ 19979 h 21600"/>
                  <a:gd name="T34" fmla="*/ 5718 w 21600"/>
                  <a:gd name="T35" fmla="*/ 13959 h 21600"/>
                  <a:gd name="T36" fmla="*/ 6988 w 21600"/>
                  <a:gd name="T37" fmla="*/ 6913 h 21600"/>
                  <a:gd name="T38" fmla="*/ 7200 w 21600"/>
                  <a:gd name="T39" fmla="*/ 4862 h 21600"/>
                  <a:gd name="T40" fmla="*/ 7412 w 21600"/>
                  <a:gd name="T41" fmla="*/ 3506 h 21600"/>
                  <a:gd name="T42" fmla="*/ 21600 w 21600"/>
                  <a:gd name="T43" fmla="*/ 2812 h 21600"/>
                  <a:gd name="T44" fmla="*/ 17153 w 21600"/>
                  <a:gd name="T45" fmla="*/ 21600 h 21600"/>
                  <a:gd name="T46" fmla="*/ 8894 w 21600"/>
                  <a:gd name="T47" fmla="*/ 21534 h 21600"/>
                  <a:gd name="T48" fmla="*/ 2753 w 21600"/>
                  <a:gd name="T49" fmla="*/ 21435 h 21600"/>
                  <a:gd name="T50" fmla="*/ 0 w 21600"/>
                  <a:gd name="T51" fmla="*/ 21203 h 21600"/>
                  <a:gd name="T52" fmla="*/ 847 w 21600"/>
                  <a:gd name="T53" fmla="*/ 18160 h 21600"/>
                  <a:gd name="T54" fmla="*/ 2329 w 21600"/>
                  <a:gd name="T55" fmla="*/ 11379 h 21600"/>
                  <a:gd name="T56" fmla="*/ 3176 w 21600"/>
                  <a:gd name="T57" fmla="*/ 8137 h 21600"/>
                  <a:gd name="T58" fmla="*/ 3812 w 21600"/>
                  <a:gd name="T59" fmla="*/ 4565 h 21600"/>
                  <a:gd name="T60" fmla="*/ 5506 w 21600"/>
                  <a:gd name="T61" fmla="*/ 2712 h 21600"/>
                  <a:gd name="T62" fmla="*/ 4235 w 21600"/>
                  <a:gd name="T63" fmla="*/ 2084 h 21600"/>
                  <a:gd name="T64" fmla="*/ 4235 w 21600"/>
                  <a:gd name="T65" fmla="*/ 695 h 21600"/>
                  <a:gd name="T66" fmla="*/ 6565 w 21600"/>
                  <a:gd name="T67" fmla="*/ 0 h 21600"/>
                  <a:gd name="T68" fmla="*/ 6565 w 21600"/>
                  <a:gd name="T69" fmla="*/ 132 h 21600"/>
                  <a:gd name="T70" fmla="*/ 6776 w 21600"/>
                  <a:gd name="T71" fmla="*/ 232 h 21600"/>
                  <a:gd name="T72" fmla="*/ 11647 w 21600"/>
                  <a:gd name="T73" fmla="*/ 198 h 21600"/>
                  <a:gd name="T74" fmla="*/ 15459 w 21600"/>
                  <a:gd name="T75" fmla="*/ 198 h 21600"/>
                  <a:gd name="T76" fmla="*/ 18635 w 21600"/>
                  <a:gd name="T77" fmla="*/ 198 h 21600"/>
                  <a:gd name="T78" fmla="*/ 21600 w 21600"/>
                  <a:gd name="T79" fmla="*/ 19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1600" h="21600">
                    <a:moveTo>
                      <a:pt x="21600" y="198"/>
                    </a:moveTo>
                    <a:lnTo>
                      <a:pt x="21600" y="2812"/>
                    </a:lnTo>
                    <a:lnTo>
                      <a:pt x="7412" y="2745"/>
                    </a:lnTo>
                    <a:lnTo>
                      <a:pt x="7412" y="2183"/>
                    </a:lnTo>
                    <a:lnTo>
                      <a:pt x="7412" y="1621"/>
                    </a:lnTo>
                    <a:lnTo>
                      <a:pt x="7412" y="1092"/>
                    </a:lnTo>
                    <a:lnTo>
                      <a:pt x="7412" y="496"/>
                    </a:lnTo>
                    <a:lnTo>
                      <a:pt x="7200" y="496"/>
                    </a:lnTo>
                    <a:lnTo>
                      <a:pt x="6776" y="496"/>
                    </a:lnTo>
                    <a:lnTo>
                      <a:pt x="6565" y="496"/>
                    </a:lnTo>
                    <a:lnTo>
                      <a:pt x="6353" y="562"/>
                    </a:lnTo>
                    <a:lnTo>
                      <a:pt x="5929" y="959"/>
                    </a:lnTo>
                    <a:lnTo>
                      <a:pt x="5718" y="1389"/>
                    </a:lnTo>
                    <a:lnTo>
                      <a:pt x="5718" y="1952"/>
                    </a:lnTo>
                    <a:lnTo>
                      <a:pt x="5506" y="2712"/>
                    </a:lnTo>
                    <a:lnTo>
                      <a:pt x="5082" y="3936"/>
                    </a:lnTo>
                    <a:lnTo>
                      <a:pt x="4871" y="5689"/>
                    </a:lnTo>
                    <a:lnTo>
                      <a:pt x="4235" y="8170"/>
                    </a:lnTo>
                    <a:lnTo>
                      <a:pt x="3600" y="11445"/>
                    </a:lnTo>
                    <a:lnTo>
                      <a:pt x="3812" y="12107"/>
                    </a:lnTo>
                    <a:lnTo>
                      <a:pt x="3600" y="12735"/>
                    </a:lnTo>
                    <a:lnTo>
                      <a:pt x="3388" y="13760"/>
                    </a:lnTo>
                    <a:lnTo>
                      <a:pt x="2541" y="15613"/>
                    </a:lnTo>
                    <a:lnTo>
                      <a:pt x="2541" y="16241"/>
                    </a:lnTo>
                    <a:lnTo>
                      <a:pt x="2541" y="17035"/>
                    </a:lnTo>
                    <a:lnTo>
                      <a:pt x="2329" y="18491"/>
                    </a:lnTo>
                    <a:lnTo>
                      <a:pt x="1906" y="21137"/>
                    </a:lnTo>
                    <a:lnTo>
                      <a:pt x="2329" y="21104"/>
                    </a:lnTo>
                    <a:lnTo>
                      <a:pt x="3176" y="21038"/>
                    </a:lnTo>
                    <a:lnTo>
                      <a:pt x="3600" y="21038"/>
                    </a:lnTo>
                    <a:lnTo>
                      <a:pt x="4024" y="21005"/>
                    </a:lnTo>
                    <a:lnTo>
                      <a:pt x="4235" y="20674"/>
                    </a:lnTo>
                    <a:lnTo>
                      <a:pt x="4659" y="20343"/>
                    </a:lnTo>
                    <a:lnTo>
                      <a:pt x="4659" y="19979"/>
                    </a:lnTo>
                    <a:lnTo>
                      <a:pt x="4871" y="19648"/>
                    </a:lnTo>
                    <a:lnTo>
                      <a:pt x="5718" y="13959"/>
                    </a:lnTo>
                    <a:lnTo>
                      <a:pt x="6565" y="9758"/>
                    </a:lnTo>
                    <a:lnTo>
                      <a:pt x="6988" y="6913"/>
                    </a:lnTo>
                    <a:lnTo>
                      <a:pt x="7200" y="5326"/>
                    </a:lnTo>
                    <a:lnTo>
                      <a:pt x="7200" y="4862"/>
                    </a:lnTo>
                    <a:lnTo>
                      <a:pt x="7412" y="4234"/>
                    </a:lnTo>
                    <a:lnTo>
                      <a:pt x="7412" y="3506"/>
                    </a:lnTo>
                    <a:lnTo>
                      <a:pt x="7412" y="2745"/>
                    </a:lnTo>
                    <a:lnTo>
                      <a:pt x="21600" y="2812"/>
                    </a:lnTo>
                    <a:lnTo>
                      <a:pt x="21600" y="21600"/>
                    </a:lnTo>
                    <a:lnTo>
                      <a:pt x="17153" y="21600"/>
                    </a:lnTo>
                    <a:lnTo>
                      <a:pt x="12918" y="21600"/>
                    </a:lnTo>
                    <a:lnTo>
                      <a:pt x="8894" y="21534"/>
                    </a:lnTo>
                    <a:lnTo>
                      <a:pt x="5506" y="21501"/>
                    </a:lnTo>
                    <a:lnTo>
                      <a:pt x="2753" y="21435"/>
                    </a:lnTo>
                    <a:lnTo>
                      <a:pt x="847" y="21302"/>
                    </a:lnTo>
                    <a:lnTo>
                      <a:pt x="0" y="21203"/>
                    </a:lnTo>
                    <a:lnTo>
                      <a:pt x="212" y="21038"/>
                    </a:lnTo>
                    <a:lnTo>
                      <a:pt x="847" y="18160"/>
                    </a:lnTo>
                    <a:lnTo>
                      <a:pt x="1694" y="14488"/>
                    </a:lnTo>
                    <a:lnTo>
                      <a:pt x="2329" y="11379"/>
                    </a:lnTo>
                    <a:lnTo>
                      <a:pt x="2753" y="9957"/>
                    </a:lnTo>
                    <a:lnTo>
                      <a:pt x="3176" y="8137"/>
                    </a:lnTo>
                    <a:lnTo>
                      <a:pt x="3600" y="6351"/>
                    </a:lnTo>
                    <a:lnTo>
                      <a:pt x="3812" y="4565"/>
                    </a:lnTo>
                    <a:lnTo>
                      <a:pt x="4024" y="2712"/>
                    </a:lnTo>
                    <a:lnTo>
                      <a:pt x="5506" y="2712"/>
                    </a:lnTo>
                    <a:lnTo>
                      <a:pt x="4024" y="2712"/>
                    </a:lnTo>
                    <a:lnTo>
                      <a:pt x="4235" y="2084"/>
                    </a:lnTo>
                    <a:lnTo>
                      <a:pt x="4235" y="1389"/>
                    </a:lnTo>
                    <a:lnTo>
                      <a:pt x="4235" y="695"/>
                    </a:lnTo>
                    <a:lnTo>
                      <a:pt x="4659" y="0"/>
                    </a:lnTo>
                    <a:lnTo>
                      <a:pt x="6565" y="0"/>
                    </a:lnTo>
                    <a:lnTo>
                      <a:pt x="6565" y="66"/>
                    </a:lnTo>
                    <a:lnTo>
                      <a:pt x="6565" y="132"/>
                    </a:lnTo>
                    <a:lnTo>
                      <a:pt x="6565" y="165"/>
                    </a:lnTo>
                    <a:lnTo>
                      <a:pt x="6776" y="232"/>
                    </a:lnTo>
                    <a:lnTo>
                      <a:pt x="9529" y="232"/>
                    </a:lnTo>
                    <a:lnTo>
                      <a:pt x="11647" y="198"/>
                    </a:lnTo>
                    <a:lnTo>
                      <a:pt x="13553" y="198"/>
                    </a:lnTo>
                    <a:lnTo>
                      <a:pt x="15459" y="198"/>
                    </a:lnTo>
                    <a:lnTo>
                      <a:pt x="17153" y="198"/>
                    </a:lnTo>
                    <a:lnTo>
                      <a:pt x="18635" y="198"/>
                    </a:lnTo>
                    <a:lnTo>
                      <a:pt x="20118" y="198"/>
                    </a:lnTo>
                    <a:lnTo>
                      <a:pt x="21600" y="198"/>
                    </a:lnTo>
                    <a:close/>
                    <a:moveTo>
                      <a:pt x="21600" y="19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40" name="Freeform 44"/>
              <p:cNvSpPr>
                <a:spLocks/>
              </p:cNvSpPr>
              <p:nvPr/>
            </p:nvSpPr>
            <p:spPr bwMode="gray">
              <a:xfrm>
                <a:off x="69" y="71"/>
                <a:ext cx="13" cy="78"/>
              </a:xfrm>
              <a:custGeom>
                <a:avLst/>
                <a:gdLst>
                  <a:gd name="T0" fmla="*/ 13935 w 21600"/>
                  <a:gd name="T1" fmla="*/ 4956 h 21600"/>
                  <a:gd name="T2" fmla="*/ 13935 w 21600"/>
                  <a:gd name="T3" fmla="*/ 3552 h 21600"/>
                  <a:gd name="T4" fmla="*/ 14981 w 21600"/>
                  <a:gd name="T5" fmla="*/ 3123 h 21600"/>
                  <a:gd name="T6" fmla="*/ 16374 w 21600"/>
                  <a:gd name="T7" fmla="*/ 19308 h 21600"/>
                  <a:gd name="T8" fmla="*/ 16026 w 21600"/>
                  <a:gd name="T9" fmla="*/ 20769 h 21600"/>
                  <a:gd name="T10" fmla="*/ 14981 w 21600"/>
                  <a:gd name="T11" fmla="*/ 20912 h 21600"/>
                  <a:gd name="T12" fmla="*/ 14110 w 21600"/>
                  <a:gd name="T13" fmla="*/ 20884 h 21600"/>
                  <a:gd name="T14" fmla="*/ 14458 w 21600"/>
                  <a:gd name="T15" fmla="*/ 19967 h 21600"/>
                  <a:gd name="T16" fmla="*/ 14458 w 21600"/>
                  <a:gd name="T17" fmla="*/ 16529 h 21600"/>
                  <a:gd name="T18" fmla="*/ 14284 w 21600"/>
                  <a:gd name="T19" fmla="*/ 12719 h 21600"/>
                  <a:gd name="T20" fmla="*/ 13935 w 21600"/>
                  <a:gd name="T21" fmla="*/ 8480 h 21600"/>
                  <a:gd name="T22" fmla="*/ 12019 w 21600"/>
                  <a:gd name="T23" fmla="*/ 17503 h 21600"/>
                  <a:gd name="T24" fmla="*/ 11845 w 21600"/>
                  <a:gd name="T25" fmla="*/ 20769 h 21600"/>
                  <a:gd name="T26" fmla="*/ 11148 w 21600"/>
                  <a:gd name="T27" fmla="*/ 21056 h 21600"/>
                  <a:gd name="T28" fmla="*/ 9929 w 21600"/>
                  <a:gd name="T29" fmla="*/ 21027 h 21600"/>
                  <a:gd name="T30" fmla="*/ 10103 w 21600"/>
                  <a:gd name="T31" fmla="*/ 20569 h 21600"/>
                  <a:gd name="T32" fmla="*/ 10452 w 21600"/>
                  <a:gd name="T33" fmla="*/ 17102 h 21600"/>
                  <a:gd name="T34" fmla="*/ 10277 w 21600"/>
                  <a:gd name="T35" fmla="*/ 14352 h 21600"/>
                  <a:gd name="T36" fmla="*/ 9755 w 21600"/>
                  <a:gd name="T37" fmla="*/ 10284 h 21600"/>
                  <a:gd name="T38" fmla="*/ 0 w 21600"/>
                  <a:gd name="T39" fmla="*/ 21600 h 21600"/>
                  <a:gd name="T40" fmla="*/ 11323 w 21600"/>
                  <a:gd name="T41" fmla="*/ 21485 h 21600"/>
                  <a:gd name="T42" fmla="*/ 18290 w 21600"/>
                  <a:gd name="T43" fmla="*/ 21314 h 21600"/>
                  <a:gd name="T44" fmla="*/ 17071 w 21600"/>
                  <a:gd name="T45" fmla="*/ 3638 h 21600"/>
                  <a:gd name="T46" fmla="*/ 18987 w 21600"/>
                  <a:gd name="T47" fmla="*/ 2636 h 21600"/>
                  <a:gd name="T48" fmla="*/ 21077 w 21600"/>
                  <a:gd name="T49" fmla="*/ 1461 h 21600"/>
                  <a:gd name="T50" fmla="*/ 21600 w 21600"/>
                  <a:gd name="T51" fmla="*/ 802 h 21600"/>
                  <a:gd name="T52" fmla="*/ 20903 w 21600"/>
                  <a:gd name="T53" fmla="*/ 229 h 21600"/>
                  <a:gd name="T54" fmla="*/ 11497 w 21600"/>
                  <a:gd name="T55" fmla="*/ 86 h 21600"/>
                  <a:gd name="T56" fmla="*/ 2090 w 21600"/>
                  <a:gd name="T57" fmla="*/ 29 h 21600"/>
                  <a:gd name="T58" fmla="*/ 4877 w 21600"/>
                  <a:gd name="T59" fmla="*/ 258 h 21600"/>
                  <a:gd name="T60" fmla="*/ 14458 w 21600"/>
                  <a:gd name="T61" fmla="*/ 286 h 21600"/>
                  <a:gd name="T62" fmla="*/ 19684 w 21600"/>
                  <a:gd name="T63" fmla="*/ 802 h 21600"/>
                  <a:gd name="T64" fmla="*/ 15155 w 21600"/>
                  <a:gd name="T65" fmla="*/ 1289 h 21600"/>
                  <a:gd name="T66" fmla="*/ 5052 w 21600"/>
                  <a:gd name="T67" fmla="*/ 1289 h 21600"/>
                  <a:gd name="T68" fmla="*/ 11323 w 21600"/>
                  <a:gd name="T69" fmla="*/ 2005 h 21600"/>
                  <a:gd name="T70" fmla="*/ 14284 w 21600"/>
                  <a:gd name="T71" fmla="*/ 1518 h 21600"/>
                  <a:gd name="T72" fmla="*/ 19684 w 21600"/>
                  <a:gd name="T73" fmla="*/ 1518 h 21600"/>
                  <a:gd name="T74" fmla="*/ 16723 w 21600"/>
                  <a:gd name="T75" fmla="*/ 2521 h 21600"/>
                  <a:gd name="T76" fmla="*/ 13761 w 21600"/>
                  <a:gd name="T77" fmla="*/ 2521 h 21600"/>
                  <a:gd name="T78" fmla="*/ 10626 w 21600"/>
                  <a:gd name="T79" fmla="*/ 2521 h 21600"/>
                  <a:gd name="T80" fmla="*/ 11323 w 21600"/>
                  <a:gd name="T81" fmla="*/ 2005 h 21600"/>
                  <a:gd name="T82" fmla="*/ 4877 w 21600"/>
                  <a:gd name="T83" fmla="*/ 2779 h 21600"/>
                  <a:gd name="T84" fmla="*/ 13587 w 21600"/>
                  <a:gd name="T85" fmla="*/ 2779 h 21600"/>
                  <a:gd name="T86" fmla="*/ 16548 w 21600"/>
                  <a:gd name="T87" fmla="*/ 2951 h 21600"/>
                  <a:gd name="T88" fmla="*/ 14981 w 21600"/>
                  <a:gd name="T89" fmla="*/ 3094 h 21600"/>
                  <a:gd name="T90" fmla="*/ 8884 w 21600"/>
                  <a:gd name="T91" fmla="*/ 3094 h 21600"/>
                  <a:gd name="T92" fmla="*/ 2439 w 21600"/>
                  <a:gd name="T93" fmla="*/ 3065 h 21600"/>
                  <a:gd name="T94" fmla="*/ 9406 w 21600"/>
                  <a:gd name="T95" fmla="*/ 5357 h 21600"/>
                  <a:gd name="T96" fmla="*/ 9406 w 21600"/>
                  <a:gd name="T97" fmla="*/ 4956 h 21600"/>
                  <a:gd name="T98" fmla="*/ 9755 w 21600"/>
                  <a:gd name="T99" fmla="*/ 3294 h 21600"/>
                  <a:gd name="T100" fmla="*/ 11148 w 21600"/>
                  <a:gd name="T101" fmla="*/ 3237 h 21600"/>
                  <a:gd name="T102" fmla="*/ 11148 w 21600"/>
                  <a:gd name="T103" fmla="*/ 5214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00" h="21600">
                    <a:moveTo>
                      <a:pt x="13935" y="5386"/>
                    </a:moveTo>
                    <a:lnTo>
                      <a:pt x="13935" y="5242"/>
                    </a:lnTo>
                    <a:lnTo>
                      <a:pt x="13935" y="5071"/>
                    </a:lnTo>
                    <a:lnTo>
                      <a:pt x="13935" y="4956"/>
                    </a:lnTo>
                    <a:lnTo>
                      <a:pt x="13761" y="4813"/>
                    </a:lnTo>
                    <a:lnTo>
                      <a:pt x="13935" y="4383"/>
                    </a:lnTo>
                    <a:lnTo>
                      <a:pt x="13935" y="3982"/>
                    </a:lnTo>
                    <a:lnTo>
                      <a:pt x="13935" y="3552"/>
                    </a:lnTo>
                    <a:lnTo>
                      <a:pt x="14110" y="3180"/>
                    </a:lnTo>
                    <a:lnTo>
                      <a:pt x="14284" y="3123"/>
                    </a:lnTo>
                    <a:lnTo>
                      <a:pt x="14632" y="3123"/>
                    </a:lnTo>
                    <a:lnTo>
                      <a:pt x="14981" y="3123"/>
                    </a:lnTo>
                    <a:lnTo>
                      <a:pt x="15329" y="3094"/>
                    </a:lnTo>
                    <a:lnTo>
                      <a:pt x="15852" y="12290"/>
                    </a:lnTo>
                    <a:lnTo>
                      <a:pt x="16374" y="17160"/>
                    </a:lnTo>
                    <a:lnTo>
                      <a:pt x="16374" y="19308"/>
                    </a:lnTo>
                    <a:lnTo>
                      <a:pt x="16374" y="20425"/>
                    </a:lnTo>
                    <a:lnTo>
                      <a:pt x="16026" y="20540"/>
                    </a:lnTo>
                    <a:lnTo>
                      <a:pt x="16026" y="20626"/>
                    </a:lnTo>
                    <a:lnTo>
                      <a:pt x="16026" y="20769"/>
                    </a:lnTo>
                    <a:lnTo>
                      <a:pt x="15852" y="20855"/>
                    </a:lnTo>
                    <a:lnTo>
                      <a:pt x="15503" y="20884"/>
                    </a:lnTo>
                    <a:lnTo>
                      <a:pt x="15329" y="20912"/>
                    </a:lnTo>
                    <a:lnTo>
                      <a:pt x="14981" y="20912"/>
                    </a:lnTo>
                    <a:lnTo>
                      <a:pt x="14458" y="20912"/>
                    </a:lnTo>
                    <a:lnTo>
                      <a:pt x="14284" y="20912"/>
                    </a:lnTo>
                    <a:lnTo>
                      <a:pt x="14284" y="20884"/>
                    </a:lnTo>
                    <a:lnTo>
                      <a:pt x="14110" y="20884"/>
                    </a:lnTo>
                    <a:lnTo>
                      <a:pt x="13935" y="20884"/>
                    </a:lnTo>
                    <a:lnTo>
                      <a:pt x="14110" y="20683"/>
                    </a:lnTo>
                    <a:lnTo>
                      <a:pt x="14284" y="20425"/>
                    </a:lnTo>
                    <a:lnTo>
                      <a:pt x="14458" y="19967"/>
                    </a:lnTo>
                    <a:lnTo>
                      <a:pt x="14632" y="19108"/>
                    </a:lnTo>
                    <a:lnTo>
                      <a:pt x="14632" y="17790"/>
                    </a:lnTo>
                    <a:lnTo>
                      <a:pt x="14632" y="16959"/>
                    </a:lnTo>
                    <a:lnTo>
                      <a:pt x="14458" y="16529"/>
                    </a:lnTo>
                    <a:lnTo>
                      <a:pt x="14458" y="16300"/>
                    </a:lnTo>
                    <a:lnTo>
                      <a:pt x="14458" y="15555"/>
                    </a:lnTo>
                    <a:lnTo>
                      <a:pt x="14458" y="14238"/>
                    </a:lnTo>
                    <a:lnTo>
                      <a:pt x="14284" y="12719"/>
                    </a:lnTo>
                    <a:lnTo>
                      <a:pt x="14110" y="11258"/>
                    </a:lnTo>
                    <a:lnTo>
                      <a:pt x="13935" y="11001"/>
                    </a:lnTo>
                    <a:lnTo>
                      <a:pt x="13935" y="10198"/>
                    </a:lnTo>
                    <a:lnTo>
                      <a:pt x="13935" y="8480"/>
                    </a:lnTo>
                    <a:lnTo>
                      <a:pt x="13935" y="5386"/>
                    </a:lnTo>
                    <a:lnTo>
                      <a:pt x="11148" y="5214"/>
                    </a:lnTo>
                    <a:lnTo>
                      <a:pt x="11671" y="13206"/>
                    </a:lnTo>
                    <a:lnTo>
                      <a:pt x="12019" y="17503"/>
                    </a:lnTo>
                    <a:lnTo>
                      <a:pt x="12019" y="19509"/>
                    </a:lnTo>
                    <a:lnTo>
                      <a:pt x="12019" y="20569"/>
                    </a:lnTo>
                    <a:lnTo>
                      <a:pt x="11845" y="20655"/>
                    </a:lnTo>
                    <a:lnTo>
                      <a:pt x="11845" y="20769"/>
                    </a:lnTo>
                    <a:lnTo>
                      <a:pt x="11671" y="20884"/>
                    </a:lnTo>
                    <a:lnTo>
                      <a:pt x="11497" y="20998"/>
                    </a:lnTo>
                    <a:lnTo>
                      <a:pt x="11323" y="21027"/>
                    </a:lnTo>
                    <a:lnTo>
                      <a:pt x="11148" y="21056"/>
                    </a:lnTo>
                    <a:lnTo>
                      <a:pt x="10626" y="21056"/>
                    </a:lnTo>
                    <a:lnTo>
                      <a:pt x="10277" y="21056"/>
                    </a:lnTo>
                    <a:lnTo>
                      <a:pt x="10103" y="21027"/>
                    </a:lnTo>
                    <a:lnTo>
                      <a:pt x="9929" y="21027"/>
                    </a:lnTo>
                    <a:lnTo>
                      <a:pt x="9755" y="21027"/>
                    </a:lnTo>
                    <a:lnTo>
                      <a:pt x="9406" y="21027"/>
                    </a:lnTo>
                    <a:lnTo>
                      <a:pt x="9929" y="20827"/>
                    </a:lnTo>
                    <a:lnTo>
                      <a:pt x="10103" y="20569"/>
                    </a:lnTo>
                    <a:lnTo>
                      <a:pt x="10277" y="20110"/>
                    </a:lnTo>
                    <a:lnTo>
                      <a:pt x="10452" y="19222"/>
                    </a:lnTo>
                    <a:lnTo>
                      <a:pt x="10452" y="17933"/>
                    </a:lnTo>
                    <a:lnTo>
                      <a:pt x="10452" y="17102"/>
                    </a:lnTo>
                    <a:lnTo>
                      <a:pt x="10277" y="16673"/>
                    </a:lnTo>
                    <a:lnTo>
                      <a:pt x="10277" y="16444"/>
                    </a:lnTo>
                    <a:lnTo>
                      <a:pt x="10277" y="15670"/>
                    </a:lnTo>
                    <a:lnTo>
                      <a:pt x="10277" y="14352"/>
                    </a:lnTo>
                    <a:lnTo>
                      <a:pt x="10103" y="12834"/>
                    </a:lnTo>
                    <a:lnTo>
                      <a:pt x="9755" y="11402"/>
                    </a:lnTo>
                    <a:lnTo>
                      <a:pt x="9755" y="11086"/>
                    </a:lnTo>
                    <a:lnTo>
                      <a:pt x="9755" y="10284"/>
                    </a:lnTo>
                    <a:lnTo>
                      <a:pt x="9406" y="8508"/>
                    </a:lnTo>
                    <a:lnTo>
                      <a:pt x="9406" y="5357"/>
                    </a:lnTo>
                    <a:lnTo>
                      <a:pt x="0" y="5328"/>
                    </a:lnTo>
                    <a:lnTo>
                      <a:pt x="0" y="21600"/>
                    </a:lnTo>
                    <a:lnTo>
                      <a:pt x="3135" y="21600"/>
                    </a:lnTo>
                    <a:lnTo>
                      <a:pt x="6097" y="21543"/>
                    </a:lnTo>
                    <a:lnTo>
                      <a:pt x="8710" y="21514"/>
                    </a:lnTo>
                    <a:lnTo>
                      <a:pt x="11323" y="21485"/>
                    </a:lnTo>
                    <a:lnTo>
                      <a:pt x="13761" y="21457"/>
                    </a:lnTo>
                    <a:lnTo>
                      <a:pt x="15677" y="21428"/>
                    </a:lnTo>
                    <a:lnTo>
                      <a:pt x="17245" y="21342"/>
                    </a:lnTo>
                    <a:lnTo>
                      <a:pt x="18290" y="21314"/>
                    </a:lnTo>
                    <a:lnTo>
                      <a:pt x="18465" y="18879"/>
                    </a:lnTo>
                    <a:lnTo>
                      <a:pt x="18639" y="14180"/>
                    </a:lnTo>
                    <a:lnTo>
                      <a:pt x="18290" y="8680"/>
                    </a:lnTo>
                    <a:lnTo>
                      <a:pt x="17071" y="3638"/>
                    </a:lnTo>
                    <a:lnTo>
                      <a:pt x="17245" y="3380"/>
                    </a:lnTo>
                    <a:lnTo>
                      <a:pt x="17942" y="3094"/>
                    </a:lnTo>
                    <a:lnTo>
                      <a:pt x="18465" y="2836"/>
                    </a:lnTo>
                    <a:lnTo>
                      <a:pt x="18987" y="2636"/>
                    </a:lnTo>
                    <a:lnTo>
                      <a:pt x="19161" y="2349"/>
                    </a:lnTo>
                    <a:lnTo>
                      <a:pt x="19684" y="2034"/>
                    </a:lnTo>
                    <a:lnTo>
                      <a:pt x="20555" y="1747"/>
                    </a:lnTo>
                    <a:lnTo>
                      <a:pt x="21077" y="1461"/>
                    </a:lnTo>
                    <a:lnTo>
                      <a:pt x="21252" y="1260"/>
                    </a:lnTo>
                    <a:lnTo>
                      <a:pt x="21252" y="1060"/>
                    </a:lnTo>
                    <a:lnTo>
                      <a:pt x="21600" y="917"/>
                    </a:lnTo>
                    <a:lnTo>
                      <a:pt x="21600" y="802"/>
                    </a:lnTo>
                    <a:lnTo>
                      <a:pt x="21600" y="716"/>
                    </a:lnTo>
                    <a:lnTo>
                      <a:pt x="21600" y="516"/>
                    </a:lnTo>
                    <a:lnTo>
                      <a:pt x="21077" y="372"/>
                    </a:lnTo>
                    <a:lnTo>
                      <a:pt x="20903" y="229"/>
                    </a:lnTo>
                    <a:lnTo>
                      <a:pt x="20729" y="57"/>
                    </a:lnTo>
                    <a:lnTo>
                      <a:pt x="17245" y="86"/>
                    </a:lnTo>
                    <a:lnTo>
                      <a:pt x="14284" y="86"/>
                    </a:lnTo>
                    <a:lnTo>
                      <a:pt x="11497" y="86"/>
                    </a:lnTo>
                    <a:lnTo>
                      <a:pt x="8884" y="86"/>
                    </a:lnTo>
                    <a:lnTo>
                      <a:pt x="6445" y="57"/>
                    </a:lnTo>
                    <a:lnTo>
                      <a:pt x="4355" y="57"/>
                    </a:lnTo>
                    <a:lnTo>
                      <a:pt x="2090" y="29"/>
                    </a:lnTo>
                    <a:lnTo>
                      <a:pt x="0" y="0"/>
                    </a:lnTo>
                    <a:lnTo>
                      <a:pt x="0" y="258"/>
                    </a:lnTo>
                    <a:lnTo>
                      <a:pt x="2439" y="258"/>
                    </a:lnTo>
                    <a:lnTo>
                      <a:pt x="4877" y="258"/>
                    </a:lnTo>
                    <a:lnTo>
                      <a:pt x="7316" y="258"/>
                    </a:lnTo>
                    <a:lnTo>
                      <a:pt x="9755" y="258"/>
                    </a:lnTo>
                    <a:lnTo>
                      <a:pt x="12019" y="286"/>
                    </a:lnTo>
                    <a:lnTo>
                      <a:pt x="14458" y="286"/>
                    </a:lnTo>
                    <a:lnTo>
                      <a:pt x="16897" y="286"/>
                    </a:lnTo>
                    <a:lnTo>
                      <a:pt x="19335" y="286"/>
                    </a:lnTo>
                    <a:lnTo>
                      <a:pt x="19510" y="516"/>
                    </a:lnTo>
                    <a:lnTo>
                      <a:pt x="19684" y="802"/>
                    </a:lnTo>
                    <a:lnTo>
                      <a:pt x="19858" y="1031"/>
                    </a:lnTo>
                    <a:lnTo>
                      <a:pt x="20206" y="1289"/>
                    </a:lnTo>
                    <a:lnTo>
                      <a:pt x="17594" y="1289"/>
                    </a:lnTo>
                    <a:lnTo>
                      <a:pt x="15155" y="1289"/>
                    </a:lnTo>
                    <a:lnTo>
                      <a:pt x="12542" y="1289"/>
                    </a:lnTo>
                    <a:lnTo>
                      <a:pt x="10103" y="1289"/>
                    </a:lnTo>
                    <a:lnTo>
                      <a:pt x="7490" y="1289"/>
                    </a:lnTo>
                    <a:lnTo>
                      <a:pt x="5052" y="1289"/>
                    </a:lnTo>
                    <a:lnTo>
                      <a:pt x="2439" y="1289"/>
                    </a:lnTo>
                    <a:lnTo>
                      <a:pt x="0" y="1289"/>
                    </a:lnTo>
                    <a:lnTo>
                      <a:pt x="0" y="1977"/>
                    </a:lnTo>
                    <a:lnTo>
                      <a:pt x="11323" y="2005"/>
                    </a:lnTo>
                    <a:lnTo>
                      <a:pt x="11671" y="1891"/>
                    </a:lnTo>
                    <a:lnTo>
                      <a:pt x="12542" y="1747"/>
                    </a:lnTo>
                    <a:lnTo>
                      <a:pt x="13239" y="1662"/>
                    </a:lnTo>
                    <a:lnTo>
                      <a:pt x="14284" y="1518"/>
                    </a:lnTo>
                    <a:lnTo>
                      <a:pt x="15677" y="1518"/>
                    </a:lnTo>
                    <a:lnTo>
                      <a:pt x="17071" y="1518"/>
                    </a:lnTo>
                    <a:lnTo>
                      <a:pt x="18290" y="1518"/>
                    </a:lnTo>
                    <a:lnTo>
                      <a:pt x="19684" y="1518"/>
                    </a:lnTo>
                    <a:lnTo>
                      <a:pt x="18465" y="1747"/>
                    </a:lnTo>
                    <a:lnTo>
                      <a:pt x="17594" y="2005"/>
                    </a:lnTo>
                    <a:lnTo>
                      <a:pt x="16897" y="2234"/>
                    </a:lnTo>
                    <a:lnTo>
                      <a:pt x="16723" y="2521"/>
                    </a:lnTo>
                    <a:lnTo>
                      <a:pt x="15852" y="2521"/>
                    </a:lnTo>
                    <a:lnTo>
                      <a:pt x="15329" y="2521"/>
                    </a:lnTo>
                    <a:lnTo>
                      <a:pt x="14458" y="2521"/>
                    </a:lnTo>
                    <a:lnTo>
                      <a:pt x="13761" y="2521"/>
                    </a:lnTo>
                    <a:lnTo>
                      <a:pt x="12890" y="2521"/>
                    </a:lnTo>
                    <a:lnTo>
                      <a:pt x="12368" y="2521"/>
                    </a:lnTo>
                    <a:lnTo>
                      <a:pt x="11497" y="2521"/>
                    </a:lnTo>
                    <a:lnTo>
                      <a:pt x="10626" y="2521"/>
                    </a:lnTo>
                    <a:lnTo>
                      <a:pt x="10626" y="2378"/>
                    </a:lnTo>
                    <a:lnTo>
                      <a:pt x="10626" y="2234"/>
                    </a:lnTo>
                    <a:lnTo>
                      <a:pt x="10974" y="2149"/>
                    </a:lnTo>
                    <a:lnTo>
                      <a:pt x="11323" y="2005"/>
                    </a:lnTo>
                    <a:lnTo>
                      <a:pt x="0" y="1977"/>
                    </a:lnTo>
                    <a:lnTo>
                      <a:pt x="0" y="2779"/>
                    </a:lnTo>
                    <a:lnTo>
                      <a:pt x="2439" y="2779"/>
                    </a:lnTo>
                    <a:lnTo>
                      <a:pt x="4877" y="2779"/>
                    </a:lnTo>
                    <a:lnTo>
                      <a:pt x="7316" y="2779"/>
                    </a:lnTo>
                    <a:lnTo>
                      <a:pt x="9406" y="2779"/>
                    </a:lnTo>
                    <a:lnTo>
                      <a:pt x="11497" y="2779"/>
                    </a:lnTo>
                    <a:lnTo>
                      <a:pt x="13587" y="2779"/>
                    </a:lnTo>
                    <a:lnTo>
                      <a:pt x="15155" y="2807"/>
                    </a:lnTo>
                    <a:lnTo>
                      <a:pt x="16548" y="2807"/>
                    </a:lnTo>
                    <a:lnTo>
                      <a:pt x="16548" y="2865"/>
                    </a:lnTo>
                    <a:lnTo>
                      <a:pt x="16548" y="2951"/>
                    </a:lnTo>
                    <a:lnTo>
                      <a:pt x="16548" y="3008"/>
                    </a:lnTo>
                    <a:lnTo>
                      <a:pt x="16374" y="3065"/>
                    </a:lnTo>
                    <a:lnTo>
                      <a:pt x="15677" y="3065"/>
                    </a:lnTo>
                    <a:lnTo>
                      <a:pt x="14981" y="3094"/>
                    </a:lnTo>
                    <a:lnTo>
                      <a:pt x="14284" y="3094"/>
                    </a:lnTo>
                    <a:lnTo>
                      <a:pt x="13587" y="3123"/>
                    </a:lnTo>
                    <a:lnTo>
                      <a:pt x="11148" y="3123"/>
                    </a:lnTo>
                    <a:lnTo>
                      <a:pt x="8884" y="3094"/>
                    </a:lnTo>
                    <a:lnTo>
                      <a:pt x="7142" y="3094"/>
                    </a:lnTo>
                    <a:lnTo>
                      <a:pt x="5400" y="3094"/>
                    </a:lnTo>
                    <a:lnTo>
                      <a:pt x="3832" y="3065"/>
                    </a:lnTo>
                    <a:lnTo>
                      <a:pt x="2439" y="3065"/>
                    </a:lnTo>
                    <a:lnTo>
                      <a:pt x="1219" y="3065"/>
                    </a:lnTo>
                    <a:lnTo>
                      <a:pt x="0" y="3065"/>
                    </a:lnTo>
                    <a:lnTo>
                      <a:pt x="0" y="5328"/>
                    </a:lnTo>
                    <a:lnTo>
                      <a:pt x="9406" y="5357"/>
                    </a:lnTo>
                    <a:lnTo>
                      <a:pt x="9406" y="5242"/>
                    </a:lnTo>
                    <a:lnTo>
                      <a:pt x="9406" y="5156"/>
                    </a:lnTo>
                    <a:lnTo>
                      <a:pt x="9406" y="5042"/>
                    </a:lnTo>
                    <a:lnTo>
                      <a:pt x="9406" y="4956"/>
                    </a:lnTo>
                    <a:lnTo>
                      <a:pt x="9406" y="4526"/>
                    </a:lnTo>
                    <a:lnTo>
                      <a:pt x="9755" y="4125"/>
                    </a:lnTo>
                    <a:lnTo>
                      <a:pt x="9755" y="3695"/>
                    </a:lnTo>
                    <a:lnTo>
                      <a:pt x="9755" y="3294"/>
                    </a:lnTo>
                    <a:lnTo>
                      <a:pt x="10103" y="3266"/>
                    </a:lnTo>
                    <a:lnTo>
                      <a:pt x="10277" y="3266"/>
                    </a:lnTo>
                    <a:lnTo>
                      <a:pt x="10626" y="3266"/>
                    </a:lnTo>
                    <a:lnTo>
                      <a:pt x="11148" y="3237"/>
                    </a:lnTo>
                    <a:lnTo>
                      <a:pt x="11148" y="3753"/>
                    </a:lnTo>
                    <a:lnTo>
                      <a:pt x="11148" y="4268"/>
                    </a:lnTo>
                    <a:lnTo>
                      <a:pt x="11148" y="4727"/>
                    </a:lnTo>
                    <a:lnTo>
                      <a:pt x="11148" y="5214"/>
                    </a:lnTo>
                    <a:lnTo>
                      <a:pt x="13935" y="5386"/>
                    </a:lnTo>
                    <a:close/>
                    <a:moveTo>
                      <a:pt x="13935" y="5386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41" name="Freeform 45"/>
              <p:cNvSpPr>
                <a:spLocks/>
              </p:cNvSpPr>
              <p:nvPr/>
            </p:nvSpPr>
            <p:spPr bwMode="gray">
              <a:xfrm>
                <a:off x="57" y="71"/>
                <a:ext cx="12" cy="10"/>
              </a:xfrm>
              <a:custGeom>
                <a:avLst/>
                <a:gdLst>
                  <a:gd name="T0" fmla="*/ 372 w 21600"/>
                  <a:gd name="T1" fmla="*/ 1925 h 21600"/>
                  <a:gd name="T2" fmla="*/ 0 w 21600"/>
                  <a:gd name="T3" fmla="*/ 4919 h 21600"/>
                  <a:gd name="T4" fmla="*/ 2421 w 21600"/>
                  <a:gd name="T5" fmla="*/ 6630 h 21600"/>
                  <a:gd name="T6" fmla="*/ 2421 w 21600"/>
                  <a:gd name="T7" fmla="*/ 8127 h 21600"/>
                  <a:gd name="T8" fmla="*/ 2234 w 21600"/>
                  <a:gd name="T9" fmla="*/ 9624 h 21600"/>
                  <a:gd name="T10" fmla="*/ 7076 w 21600"/>
                  <a:gd name="T11" fmla="*/ 9624 h 21600"/>
                  <a:gd name="T12" fmla="*/ 12103 w 21600"/>
                  <a:gd name="T13" fmla="*/ 9624 h 21600"/>
                  <a:gd name="T14" fmla="*/ 16759 w 21600"/>
                  <a:gd name="T15" fmla="*/ 9624 h 21600"/>
                  <a:gd name="T16" fmla="*/ 21600 w 21600"/>
                  <a:gd name="T17" fmla="*/ 9624 h 21600"/>
                  <a:gd name="T18" fmla="*/ 2793 w 21600"/>
                  <a:gd name="T19" fmla="*/ 14329 h 21600"/>
                  <a:gd name="T20" fmla="*/ 5214 w 21600"/>
                  <a:gd name="T21" fmla="*/ 17109 h 21600"/>
                  <a:gd name="T22" fmla="*/ 6703 w 21600"/>
                  <a:gd name="T23" fmla="*/ 20103 h 21600"/>
                  <a:gd name="T24" fmla="*/ 6703 w 21600"/>
                  <a:gd name="T25" fmla="*/ 20958 h 21600"/>
                  <a:gd name="T26" fmla="*/ 6703 w 21600"/>
                  <a:gd name="T27" fmla="*/ 21600 h 21600"/>
                  <a:gd name="T28" fmla="*/ 8193 w 21600"/>
                  <a:gd name="T29" fmla="*/ 21386 h 21600"/>
                  <a:gd name="T30" fmla="*/ 8193 w 21600"/>
                  <a:gd name="T31" fmla="*/ 20958 h 21600"/>
                  <a:gd name="T32" fmla="*/ 8938 w 21600"/>
                  <a:gd name="T33" fmla="*/ 20745 h 21600"/>
                  <a:gd name="T34" fmla="*/ 11359 w 21600"/>
                  <a:gd name="T35" fmla="*/ 20745 h 21600"/>
                  <a:gd name="T36" fmla="*/ 15083 w 21600"/>
                  <a:gd name="T37" fmla="*/ 20745 h 21600"/>
                  <a:gd name="T38" fmla="*/ 19366 w 21600"/>
                  <a:gd name="T39" fmla="*/ 20745 h 21600"/>
                  <a:gd name="T40" fmla="*/ 21600 w 21600"/>
                  <a:gd name="T41" fmla="*/ 14756 h 21600"/>
                  <a:gd name="T42" fmla="*/ 2234 w 21600"/>
                  <a:gd name="T43" fmla="*/ 13259 h 21600"/>
                  <a:gd name="T44" fmla="*/ 931 w 21600"/>
                  <a:gd name="T45" fmla="*/ 11549 h 21600"/>
                  <a:gd name="T46" fmla="*/ 372 w 21600"/>
                  <a:gd name="T47" fmla="*/ 9624 h 21600"/>
                  <a:gd name="T48" fmla="*/ 186 w 21600"/>
                  <a:gd name="T49" fmla="*/ 7699 h 21600"/>
                  <a:gd name="T50" fmla="*/ 2421 w 21600"/>
                  <a:gd name="T51" fmla="*/ 6630 h 21600"/>
                  <a:gd name="T52" fmla="*/ 2607 w 21600"/>
                  <a:gd name="T53" fmla="*/ 4277 h 21600"/>
                  <a:gd name="T54" fmla="*/ 2793 w 21600"/>
                  <a:gd name="T55" fmla="*/ 1925 h 21600"/>
                  <a:gd name="T56" fmla="*/ 7448 w 21600"/>
                  <a:gd name="T57" fmla="*/ 1925 h 21600"/>
                  <a:gd name="T58" fmla="*/ 12290 w 21600"/>
                  <a:gd name="T59" fmla="*/ 1925 h 21600"/>
                  <a:gd name="T60" fmla="*/ 16945 w 21600"/>
                  <a:gd name="T61" fmla="*/ 1925 h 21600"/>
                  <a:gd name="T62" fmla="*/ 21600 w 21600"/>
                  <a:gd name="T63" fmla="*/ 1925 h 21600"/>
                  <a:gd name="T64" fmla="*/ 1117 w 21600"/>
                  <a:gd name="T65" fmla="*/ 42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600" h="21600">
                    <a:moveTo>
                      <a:pt x="1117" y="428"/>
                    </a:moveTo>
                    <a:lnTo>
                      <a:pt x="372" y="1925"/>
                    </a:lnTo>
                    <a:lnTo>
                      <a:pt x="186" y="3422"/>
                    </a:lnTo>
                    <a:lnTo>
                      <a:pt x="0" y="4919"/>
                    </a:lnTo>
                    <a:lnTo>
                      <a:pt x="0" y="6630"/>
                    </a:lnTo>
                    <a:lnTo>
                      <a:pt x="2421" y="6630"/>
                    </a:lnTo>
                    <a:lnTo>
                      <a:pt x="2421" y="7485"/>
                    </a:lnTo>
                    <a:lnTo>
                      <a:pt x="2421" y="8127"/>
                    </a:lnTo>
                    <a:lnTo>
                      <a:pt x="2421" y="8768"/>
                    </a:lnTo>
                    <a:lnTo>
                      <a:pt x="2234" y="9624"/>
                    </a:lnTo>
                    <a:lnTo>
                      <a:pt x="4655" y="9624"/>
                    </a:lnTo>
                    <a:lnTo>
                      <a:pt x="7076" y="9624"/>
                    </a:lnTo>
                    <a:lnTo>
                      <a:pt x="9683" y="9624"/>
                    </a:lnTo>
                    <a:lnTo>
                      <a:pt x="12103" y="9624"/>
                    </a:lnTo>
                    <a:lnTo>
                      <a:pt x="14338" y="9624"/>
                    </a:lnTo>
                    <a:lnTo>
                      <a:pt x="16759" y="9624"/>
                    </a:lnTo>
                    <a:lnTo>
                      <a:pt x="19366" y="9624"/>
                    </a:lnTo>
                    <a:lnTo>
                      <a:pt x="21600" y="9624"/>
                    </a:lnTo>
                    <a:lnTo>
                      <a:pt x="21600" y="14756"/>
                    </a:lnTo>
                    <a:lnTo>
                      <a:pt x="2793" y="14329"/>
                    </a:lnTo>
                    <a:lnTo>
                      <a:pt x="4097" y="15612"/>
                    </a:lnTo>
                    <a:lnTo>
                      <a:pt x="5214" y="17109"/>
                    </a:lnTo>
                    <a:lnTo>
                      <a:pt x="5959" y="18392"/>
                    </a:lnTo>
                    <a:lnTo>
                      <a:pt x="6703" y="20103"/>
                    </a:lnTo>
                    <a:lnTo>
                      <a:pt x="6703" y="20531"/>
                    </a:lnTo>
                    <a:lnTo>
                      <a:pt x="6703" y="20958"/>
                    </a:lnTo>
                    <a:lnTo>
                      <a:pt x="6703" y="21172"/>
                    </a:lnTo>
                    <a:lnTo>
                      <a:pt x="6703" y="21600"/>
                    </a:lnTo>
                    <a:lnTo>
                      <a:pt x="8193" y="21600"/>
                    </a:lnTo>
                    <a:lnTo>
                      <a:pt x="8193" y="21386"/>
                    </a:lnTo>
                    <a:lnTo>
                      <a:pt x="8193" y="21172"/>
                    </a:lnTo>
                    <a:lnTo>
                      <a:pt x="8193" y="20958"/>
                    </a:lnTo>
                    <a:lnTo>
                      <a:pt x="8193" y="20745"/>
                    </a:lnTo>
                    <a:lnTo>
                      <a:pt x="8938" y="20745"/>
                    </a:lnTo>
                    <a:lnTo>
                      <a:pt x="10055" y="20745"/>
                    </a:lnTo>
                    <a:lnTo>
                      <a:pt x="11359" y="20745"/>
                    </a:lnTo>
                    <a:lnTo>
                      <a:pt x="13034" y="20745"/>
                    </a:lnTo>
                    <a:lnTo>
                      <a:pt x="15083" y="20745"/>
                    </a:lnTo>
                    <a:lnTo>
                      <a:pt x="17131" y="20745"/>
                    </a:lnTo>
                    <a:lnTo>
                      <a:pt x="19366" y="20745"/>
                    </a:lnTo>
                    <a:lnTo>
                      <a:pt x="21600" y="20745"/>
                    </a:lnTo>
                    <a:lnTo>
                      <a:pt x="21600" y="14756"/>
                    </a:lnTo>
                    <a:lnTo>
                      <a:pt x="2793" y="14329"/>
                    </a:lnTo>
                    <a:lnTo>
                      <a:pt x="2234" y="13259"/>
                    </a:lnTo>
                    <a:lnTo>
                      <a:pt x="1490" y="12618"/>
                    </a:lnTo>
                    <a:lnTo>
                      <a:pt x="931" y="11549"/>
                    </a:lnTo>
                    <a:lnTo>
                      <a:pt x="372" y="10693"/>
                    </a:lnTo>
                    <a:lnTo>
                      <a:pt x="372" y="9624"/>
                    </a:lnTo>
                    <a:lnTo>
                      <a:pt x="186" y="8554"/>
                    </a:lnTo>
                    <a:lnTo>
                      <a:pt x="186" y="7699"/>
                    </a:lnTo>
                    <a:lnTo>
                      <a:pt x="0" y="6630"/>
                    </a:lnTo>
                    <a:lnTo>
                      <a:pt x="2421" y="6630"/>
                    </a:lnTo>
                    <a:lnTo>
                      <a:pt x="2607" y="5347"/>
                    </a:lnTo>
                    <a:lnTo>
                      <a:pt x="2607" y="4277"/>
                    </a:lnTo>
                    <a:lnTo>
                      <a:pt x="2607" y="3208"/>
                    </a:lnTo>
                    <a:lnTo>
                      <a:pt x="2793" y="1925"/>
                    </a:lnTo>
                    <a:lnTo>
                      <a:pt x="5214" y="1925"/>
                    </a:lnTo>
                    <a:lnTo>
                      <a:pt x="7448" y="1925"/>
                    </a:lnTo>
                    <a:lnTo>
                      <a:pt x="9869" y="1925"/>
                    </a:lnTo>
                    <a:lnTo>
                      <a:pt x="12290" y="1925"/>
                    </a:lnTo>
                    <a:lnTo>
                      <a:pt x="14524" y="1925"/>
                    </a:lnTo>
                    <a:lnTo>
                      <a:pt x="16945" y="1925"/>
                    </a:lnTo>
                    <a:lnTo>
                      <a:pt x="19366" y="1925"/>
                    </a:lnTo>
                    <a:lnTo>
                      <a:pt x="21600" y="1925"/>
                    </a:lnTo>
                    <a:lnTo>
                      <a:pt x="21600" y="0"/>
                    </a:lnTo>
                    <a:lnTo>
                      <a:pt x="1117" y="428"/>
                    </a:lnTo>
                    <a:close/>
                    <a:moveTo>
                      <a:pt x="1117" y="42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42" name="Freeform 46"/>
              <p:cNvSpPr>
                <a:spLocks/>
              </p:cNvSpPr>
              <p:nvPr/>
            </p:nvSpPr>
            <p:spPr bwMode="gray">
              <a:xfrm>
                <a:off x="58" y="81"/>
                <a:ext cx="11" cy="68"/>
              </a:xfrm>
              <a:custGeom>
                <a:avLst/>
                <a:gdLst>
                  <a:gd name="T0" fmla="*/ 21600 w 21600"/>
                  <a:gd name="T1" fmla="*/ 2812 h 21600"/>
                  <a:gd name="T2" fmla="*/ 7759 w 21600"/>
                  <a:gd name="T3" fmla="*/ 2183 h 21600"/>
                  <a:gd name="T4" fmla="*/ 7759 w 21600"/>
                  <a:gd name="T5" fmla="*/ 1092 h 21600"/>
                  <a:gd name="T6" fmla="*/ 7130 w 21600"/>
                  <a:gd name="T7" fmla="*/ 496 h 21600"/>
                  <a:gd name="T8" fmla="*/ 6501 w 21600"/>
                  <a:gd name="T9" fmla="*/ 496 h 21600"/>
                  <a:gd name="T10" fmla="*/ 5872 w 21600"/>
                  <a:gd name="T11" fmla="*/ 959 h 21600"/>
                  <a:gd name="T12" fmla="*/ 5662 w 21600"/>
                  <a:gd name="T13" fmla="*/ 1952 h 21600"/>
                  <a:gd name="T14" fmla="*/ 5243 w 21600"/>
                  <a:gd name="T15" fmla="*/ 3936 h 21600"/>
                  <a:gd name="T16" fmla="*/ 4614 w 21600"/>
                  <a:gd name="T17" fmla="*/ 8170 h 21600"/>
                  <a:gd name="T18" fmla="*/ 3775 w 21600"/>
                  <a:gd name="T19" fmla="*/ 12107 h 21600"/>
                  <a:gd name="T20" fmla="*/ 3355 w 21600"/>
                  <a:gd name="T21" fmla="*/ 13760 h 21600"/>
                  <a:gd name="T22" fmla="*/ 2936 w 21600"/>
                  <a:gd name="T23" fmla="*/ 16241 h 21600"/>
                  <a:gd name="T24" fmla="*/ 2307 w 21600"/>
                  <a:gd name="T25" fmla="*/ 18491 h 21600"/>
                  <a:gd name="T26" fmla="*/ 2517 w 21600"/>
                  <a:gd name="T27" fmla="*/ 21104 h 21600"/>
                  <a:gd name="T28" fmla="*/ 3565 w 21600"/>
                  <a:gd name="T29" fmla="*/ 21038 h 21600"/>
                  <a:gd name="T30" fmla="*/ 4194 w 21600"/>
                  <a:gd name="T31" fmla="*/ 20674 h 21600"/>
                  <a:gd name="T32" fmla="*/ 4614 w 21600"/>
                  <a:gd name="T33" fmla="*/ 19979 h 21600"/>
                  <a:gd name="T34" fmla="*/ 5662 w 21600"/>
                  <a:gd name="T35" fmla="*/ 13959 h 21600"/>
                  <a:gd name="T36" fmla="*/ 6920 w 21600"/>
                  <a:gd name="T37" fmla="*/ 6913 h 21600"/>
                  <a:gd name="T38" fmla="*/ 7340 w 21600"/>
                  <a:gd name="T39" fmla="*/ 4862 h 21600"/>
                  <a:gd name="T40" fmla="*/ 7340 w 21600"/>
                  <a:gd name="T41" fmla="*/ 3506 h 21600"/>
                  <a:gd name="T42" fmla="*/ 21600 w 21600"/>
                  <a:gd name="T43" fmla="*/ 2812 h 21600"/>
                  <a:gd name="T44" fmla="*/ 17406 w 21600"/>
                  <a:gd name="T45" fmla="*/ 21600 h 21600"/>
                  <a:gd name="T46" fmla="*/ 9017 w 21600"/>
                  <a:gd name="T47" fmla="*/ 21534 h 21600"/>
                  <a:gd name="T48" fmla="*/ 2936 w 21600"/>
                  <a:gd name="T49" fmla="*/ 21435 h 21600"/>
                  <a:gd name="T50" fmla="*/ 0 w 21600"/>
                  <a:gd name="T51" fmla="*/ 21203 h 21600"/>
                  <a:gd name="T52" fmla="*/ 839 w 21600"/>
                  <a:gd name="T53" fmla="*/ 18160 h 21600"/>
                  <a:gd name="T54" fmla="*/ 2307 w 21600"/>
                  <a:gd name="T55" fmla="*/ 11379 h 21600"/>
                  <a:gd name="T56" fmla="*/ 3355 w 21600"/>
                  <a:gd name="T57" fmla="*/ 8137 h 21600"/>
                  <a:gd name="T58" fmla="*/ 3984 w 21600"/>
                  <a:gd name="T59" fmla="*/ 4565 h 21600"/>
                  <a:gd name="T60" fmla="*/ 5452 w 21600"/>
                  <a:gd name="T61" fmla="*/ 2712 h 21600"/>
                  <a:gd name="T62" fmla="*/ 4194 w 21600"/>
                  <a:gd name="T63" fmla="*/ 2084 h 21600"/>
                  <a:gd name="T64" fmla="*/ 4614 w 21600"/>
                  <a:gd name="T65" fmla="*/ 695 h 21600"/>
                  <a:gd name="T66" fmla="*/ 6501 w 21600"/>
                  <a:gd name="T67" fmla="*/ 0 h 21600"/>
                  <a:gd name="T68" fmla="*/ 6711 w 21600"/>
                  <a:gd name="T69" fmla="*/ 132 h 21600"/>
                  <a:gd name="T70" fmla="*/ 6711 w 21600"/>
                  <a:gd name="T71" fmla="*/ 232 h 21600"/>
                  <a:gd name="T72" fmla="*/ 11534 w 21600"/>
                  <a:gd name="T73" fmla="*/ 198 h 21600"/>
                  <a:gd name="T74" fmla="*/ 15309 w 21600"/>
                  <a:gd name="T75" fmla="*/ 198 h 21600"/>
                  <a:gd name="T76" fmla="*/ 18454 w 21600"/>
                  <a:gd name="T77" fmla="*/ 198 h 21600"/>
                  <a:gd name="T78" fmla="*/ 21600 w 21600"/>
                  <a:gd name="T79" fmla="*/ 19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1600" h="21600">
                    <a:moveTo>
                      <a:pt x="21600" y="198"/>
                    </a:moveTo>
                    <a:lnTo>
                      <a:pt x="21600" y="2812"/>
                    </a:lnTo>
                    <a:lnTo>
                      <a:pt x="7340" y="2745"/>
                    </a:lnTo>
                    <a:lnTo>
                      <a:pt x="7759" y="2183"/>
                    </a:lnTo>
                    <a:lnTo>
                      <a:pt x="7759" y="1621"/>
                    </a:lnTo>
                    <a:lnTo>
                      <a:pt x="7759" y="1092"/>
                    </a:lnTo>
                    <a:lnTo>
                      <a:pt x="7340" y="496"/>
                    </a:lnTo>
                    <a:lnTo>
                      <a:pt x="7130" y="496"/>
                    </a:lnTo>
                    <a:lnTo>
                      <a:pt x="6711" y="496"/>
                    </a:lnTo>
                    <a:lnTo>
                      <a:pt x="6501" y="496"/>
                    </a:lnTo>
                    <a:lnTo>
                      <a:pt x="6291" y="562"/>
                    </a:lnTo>
                    <a:lnTo>
                      <a:pt x="5872" y="959"/>
                    </a:lnTo>
                    <a:lnTo>
                      <a:pt x="5872" y="1389"/>
                    </a:lnTo>
                    <a:lnTo>
                      <a:pt x="5662" y="1952"/>
                    </a:lnTo>
                    <a:lnTo>
                      <a:pt x="5452" y="2712"/>
                    </a:lnTo>
                    <a:lnTo>
                      <a:pt x="5243" y="3936"/>
                    </a:lnTo>
                    <a:lnTo>
                      <a:pt x="5033" y="5689"/>
                    </a:lnTo>
                    <a:lnTo>
                      <a:pt x="4614" y="8170"/>
                    </a:lnTo>
                    <a:lnTo>
                      <a:pt x="3775" y="11445"/>
                    </a:lnTo>
                    <a:lnTo>
                      <a:pt x="3775" y="12107"/>
                    </a:lnTo>
                    <a:lnTo>
                      <a:pt x="3565" y="12735"/>
                    </a:lnTo>
                    <a:lnTo>
                      <a:pt x="3355" y="13760"/>
                    </a:lnTo>
                    <a:lnTo>
                      <a:pt x="2517" y="15613"/>
                    </a:lnTo>
                    <a:lnTo>
                      <a:pt x="2936" y="16241"/>
                    </a:lnTo>
                    <a:lnTo>
                      <a:pt x="2517" y="17035"/>
                    </a:lnTo>
                    <a:lnTo>
                      <a:pt x="2307" y="18491"/>
                    </a:lnTo>
                    <a:lnTo>
                      <a:pt x="1887" y="21137"/>
                    </a:lnTo>
                    <a:lnTo>
                      <a:pt x="2517" y="21104"/>
                    </a:lnTo>
                    <a:lnTo>
                      <a:pt x="3146" y="21038"/>
                    </a:lnTo>
                    <a:lnTo>
                      <a:pt x="3565" y="21038"/>
                    </a:lnTo>
                    <a:lnTo>
                      <a:pt x="4194" y="21005"/>
                    </a:lnTo>
                    <a:lnTo>
                      <a:pt x="4194" y="20674"/>
                    </a:lnTo>
                    <a:lnTo>
                      <a:pt x="4614" y="20343"/>
                    </a:lnTo>
                    <a:lnTo>
                      <a:pt x="4614" y="19979"/>
                    </a:lnTo>
                    <a:lnTo>
                      <a:pt x="4823" y="19648"/>
                    </a:lnTo>
                    <a:lnTo>
                      <a:pt x="5662" y="13959"/>
                    </a:lnTo>
                    <a:lnTo>
                      <a:pt x="6501" y="9758"/>
                    </a:lnTo>
                    <a:lnTo>
                      <a:pt x="6920" y="6913"/>
                    </a:lnTo>
                    <a:lnTo>
                      <a:pt x="7340" y="5326"/>
                    </a:lnTo>
                    <a:lnTo>
                      <a:pt x="7340" y="4862"/>
                    </a:lnTo>
                    <a:lnTo>
                      <a:pt x="7340" y="4234"/>
                    </a:lnTo>
                    <a:lnTo>
                      <a:pt x="7340" y="3506"/>
                    </a:lnTo>
                    <a:lnTo>
                      <a:pt x="7340" y="2745"/>
                    </a:lnTo>
                    <a:lnTo>
                      <a:pt x="21600" y="2812"/>
                    </a:lnTo>
                    <a:lnTo>
                      <a:pt x="21600" y="21600"/>
                    </a:lnTo>
                    <a:lnTo>
                      <a:pt x="17406" y="21600"/>
                    </a:lnTo>
                    <a:lnTo>
                      <a:pt x="13002" y="21600"/>
                    </a:lnTo>
                    <a:lnTo>
                      <a:pt x="9017" y="21534"/>
                    </a:lnTo>
                    <a:lnTo>
                      <a:pt x="5662" y="21501"/>
                    </a:lnTo>
                    <a:lnTo>
                      <a:pt x="2936" y="21435"/>
                    </a:lnTo>
                    <a:lnTo>
                      <a:pt x="839" y="21302"/>
                    </a:lnTo>
                    <a:lnTo>
                      <a:pt x="0" y="21203"/>
                    </a:lnTo>
                    <a:lnTo>
                      <a:pt x="210" y="21038"/>
                    </a:lnTo>
                    <a:lnTo>
                      <a:pt x="839" y="18160"/>
                    </a:lnTo>
                    <a:lnTo>
                      <a:pt x="1887" y="14488"/>
                    </a:lnTo>
                    <a:lnTo>
                      <a:pt x="2307" y="11379"/>
                    </a:lnTo>
                    <a:lnTo>
                      <a:pt x="2936" y="9957"/>
                    </a:lnTo>
                    <a:lnTo>
                      <a:pt x="3355" y="8137"/>
                    </a:lnTo>
                    <a:lnTo>
                      <a:pt x="3565" y="6351"/>
                    </a:lnTo>
                    <a:lnTo>
                      <a:pt x="3984" y="4565"/>
                    </a:lnTo>
                    <a:lnTo>
                      <a:pt x="4194" y="2712"/>
                    </a:lnTo>
                    <a:lnTo>
                      <a:pt x="5452" y="2712"/>
                    </a:lnTo>
                    <a:lnTo>
                      <a:pt x="4194" y="2712"/>
                    </a:lnTo>
                    <a:lnTo>
                      <a:pt x="4194" y="2084"/>
                    </a:lnTo>
                    <a:lnTo>
                      <a:pt x="4614" y="1389"/>
                    </a:lnTo>
                    <a:lnTo>
                      <a:pt x="4614" y="695"/>
                    </a:lnTo>
                    <a:lnTo>
                      <a:pt x="4823" y="0"/>
                    </a:lnTo>
                    <a:lnTo>
                      <a:pt x="6501" y="0"/>
                    </a:lnTo>
                    <a:lnTo>
                      <a:pt x="6501" y="66"/>
                    </a:lnTo>
                    <a:lnTo>
                      <a:pt x="6711" y="132"/>
                    </a:lnTo>
                    <a:lnTo>
                      <a:pt x="6711" y="165"/>
                    </a:lnTo>
                    <a:lnTo>
                      <a:pt x="6711" y="232"/>
                    </a:lnTo>
                    <a:lnTo>
                      <a:pt x="9437" y="232"/>
                    </a:lnTo>
                    <a:lnTo>
                      <a:pt x="11534" y="198"/>
                    </a:lnTo>
                    <a:lnTo>
                      <a:pt x="13421" y="198"/>
                    </a:lnTo>
                    <a:lnTo>
                      <a:pt x="15309" y="198"/>
                    </a:lnTo>
                    <a:lnTo>
                      <a:pt x="16986" y="198"/>
                    </a:lnTo>
                    <a:lnTo>
                      <a:pt x="18454" y="198"/>
                    </a:lnTo>
                    <a:lnTo>
                      <a:pt x="20132" y="198"/>
                    </a:lnTo>
                    <a:lnTo>
                      <a:pt x="21600" y="198"/>
                    </a:lnTo>
                    <a:close/>
                    <a:moveTo>
                      <a:pt x="21600" y="19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43" name="Freeform 47"/>
              <p:cNvSpPr>
                <a:spLocks/>
              </p:cNvSpPr>
              <p:nvPr/>
            </p:nvSpPr>
            <p:spPr bwMode="gray">
              <a:xfrm>
                <a:off x="109" y="71"/>
                <a:ext cx="13" cy="78"/>
              </a:xfrm>
              <a:custGeom>
                <a:avLst/>
                <a:gdLst>
                  <a:gd name="T0" fmla="*/ 14164 w 21600"/>
                  <a:gd name="T1" fmla="*/ 4956 h 21600"/>
                  <a:gd name="T2" fmla="*/ 14164 w 21600"/>
                  <a:gd name="T3" fmla="*/ 3552 h 21600"/>
                  <a:gd name="T4" fmla="*/ 14872 w 21600"/>
                  <a:gd name="T5" fmla="*/ 3123 h 21600"/>
                  <a:gd name="T6" fmla="*/ 16289 w 21600"/>
                  <a:gd name="T7" fmla="*/ 19308 h 21600"/>
                  <a:gd name="T8" fmla="*/ 15934 w 21600"/>
                  <a:gd name="T9" fmla="*/ 20769 h 21600"/>
                  <a:gd name="T10" fmla="*/ 14872 w 21600"/>
                  <a:gd name="T11" fmla="*/ 20912 h 21600"/>
                  <a:gd name="T12" fmla="*/ 14164 w 21600"/>
                  <a:gd name="T13" fmla="*/ 20884 h 21600"/>
                  <a:gd name="T14" fmla="*/ 14518 w 21600"/>
                  <a:gd name="T15" fmla="*/ 19967 h 21600"/>
                  <a:gd name="T16" fmla="*/ 14518 w 21600"/>
                  <a:gd name="T17" fmla="*/ 16529 h 21600"/>
                  <a:gd name="T18" fmla="*/ 14341 w 21600"/>
                  <a:gd name="T19" fmla="*/ 12719 h 21600"/>
                  <a:gd name="T20" fmla="*/ 14164 w 21600"/>
                  <a:gd name="T21" fmla="*/ 8480 h 21600"/>
                  <a:gd name="T22" fmla="*/ 12216 w 21600"/>
                  <a:gd name="T23" fmla="*/ 17503 h 21600"/>
                  <a:gd name="T24" fmla="*/ 11862 w 21600"/>
                  <a:gd name="T25" fmla="*/ 20769 h 21600"/>
                  <a:gd name="T26" fmla="*/ 11331 w 21600"/>
                  <a:gd name="T27" fmla="*/ 21056 h 21600"/>
                  <a:gd name="T28" fmla="*/ 10092 w 21600"/>
                  <a:gd name="T29" fmla="*/ 21027 h 21600"/>
                  <a:gd name="T30" fmla="*/ 10269 w 21600"/>
                  <a:gd name="T31" fmla="*/ 20569 h 21600"/>
                  <a:gd name="T32" fmla="*/ 10623 w 21600"/>
                  <a:gd name="T33" fmla="*/ 17102 h 21600"/>
                  <a:gd name="T34" fmla="*/ 10446 w 21600"/>
                  <a:gd name="T35" fmla="*/ 14352 h 21600"/>
                  <a:gd name="T36" fmla="*/ 9915 w 21600"/>
                  <a:gd name="T37" fmla="*/ 10284 h 21600"/>
                  <a:gd name="T38" fmla="*/ 0 w 21600"/>
                  <a:gd name="T39" fmla="*/ 21600 h 21600"/>
                  <a:gd name="T40" fmla="*/ 11508 w 21600"/>
                  <a:gd name="T41" fmla="*/ 21485 h 21600"/>
                  <a:gd name="T42" fmla="*/ 18413 w 21600"/>
                  <a:gd name="T43" fmla="*/ 21314 h 21600"/>
                  <a:gd name="T44" fmla="*/ 17174 w 21600"/>
                  <a:gd name="T45" fmla="*/ 3638 h 21600"/>
                  <a:gd name="T46" fmla="*/ 18767 w 21600"/>
                  <a:gd name="T47" fmla="*/ 2636 h 21600"/>
                  <a:gd name="T48" fmla="*/ 21246 w 21600"/>
                  <a:gd name="T49" fmla="*/ 1461 h 21600"/>
                  <a:gd name="T50" fmla="*/ 21600 w 21600"/>
                  <a:gd name="T51" fmla="*/ 802 h 21600"/>
                  <a:gd name="T52" fmla="*/ 21069 w 21600"/>
                  <a:gd name="T53" fmla="*/ 229 h 21600"/>
                  <a:gd name="T54" fmla="*/ 11685 w 21600"/>
                  <a:gd name="T55" fmla="*/ 86 h 21600"/>
                  <a:gd name="T56" fmla="*/ 2125 w 21600"/>
                  <a:gd name="T57" fmla="*/ 29 h 21600"/>
                  <a:gd name="T58" fmla="*/ 4957 w 21600"/>
                  <a:gd name="T59" fmla="*/ 258 h 21600"/>
                  <a:gd name="T60" fmla="*/ 14695 w 21600"/>
                  <a:gd name="T61" fmla="*/ 286 h 21600"/>
                  <a:gd name="T62" fmla="*/ 19830 w 21600"/>
                  <a:gd name="T63" fmla="*/ 802 h 21600"/>
                  <a:gd name="T64" fmla="*/ 15226 w 21600"/>
                  <a:gd name="T65" fmla="*/ 1289 h 21600"/>
                  <a:gd name="T66" fmla="*/ 5134 w 21600"/>
                  <a:gd name="T67" fmla="*/ 1289 h 21600"/>
                  <a:gd name="T68" fmla="*/ 11508 w 21600"/>
                  <a:gd name="T69" fmla="*/ 2005 h 21600"/>
                  <a:gd name="T70" fmla="*/ 14341 w 21600"/>
                  <a:gd name="T71" fmla="*/ 1518 h 21600"/>
                  <a:gd name="T72" fmla="*/ 19830 w 21600"/>
                  <a:gd name="T73" fmla="*/ 1518 h 21600"/>
                  <a:gd name="T74" fmla="*/ 16820 w 21600"/>
                  <a:gd name="T75" fmla="*/ 2521 h 21600"/>
                  <a:gd name="T76" fmla="*/ 10800 w 21600"/>
                  <a:gd name="T77" fmla="*/ 2521 h 21600"/>
                  <a:gd name="T78" fmla="*/ 11508 w 21600"/>
                  <a:gd name="T79" fmla="*/ 2005 h 21600"/>
                  <a:gd name="T80" fmla="*/ 4957 w 21600"/>
                  <a:gd name="T81" fmla="*/ 2779 h 21600"/>
                  <a:gd name="T82" fmla="*/ 13810 w 21600"/>
                  <a:gd name="T83" fmla="*/ 2779 h 21600"/>
                  <a:gd name="T84" fmla="*/ 16643 w 21600"/>
                  <a:gd name="T85" fmla="*/ 2951 h 21600"/>
                  <a:gd name="T86" fmla="*/ 15226 w 21600"/>
                  <a:gd name="T87" fmla="*/ 3094 h 21600"/>
                  <a:gd name="T88" fmla="*/ 9030 w 21600"/>
                  <a:gd name="T89" fmla="*/ 3094 h 21600"/>
                  <a:gd name="T90" fmla="*/ 2479 w 21600"/>
                  <a:gd name="T91" fmla="*/ 3065 h 21600"/>
                  <a:gd name="T92" fmla="*/ 9561 w 21600"/>
                  <a:gd name="T93" fmla="*/ 5357 h 21600"/>
                  <a:gd name="T94" fmla="*/ 9561 w 21600"/>
                  <a:gd name="T95" fmla="*/ 4956 h 21600"/>
                  <a:gd name="T96" fmla="*/ 9915 w 21600"/>
                  <a:gd name="T97" fmla="*/ 3294 h 21600"/>
                  <a:gd name="T98" fmla="*/ 11154 w 21600"/>
                  <a:gd name="T99" fmla="*/ 3237 h 21600"/>
                  <a:gd name="T100" fmla="*/ 11331 w 21600"/>
                  <a:gd name="T101" fmla="*/ 5214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14164" y="5386"/>
                    </a:moveTo>
                    <a:lnTo>
                      <a:pt x="14164" y="5242"/>
                    </a:lnTo>
                    <a:lnTo>
                      <a:pt x="14164" y="5071"/>
                    </a:lnTo>
                    <a:lnTo>
                      <a:pt x="14164" y="4956"/>
                    </a:lnTo>
                    <a:lnTo>
                      <a:pt x="13987" y="4813"/>
                    </a:lnTo>
                    <a:lnTo>
                      <a:pt x="14164" y="4383"/>
                    </a:lnTo>
                    <a:lnTo>
                      <a:pt x="14164" y="3982"/>
                    </a:lnTo>
                    <a:lnTo>
                      <a:pt x="14164" y="3552"/>
                    </a:lnTo>
                    <a:lnTo>
                      <a:pt x="14164" y="3180"/>
                    </a:lnTo>
                    <a:lnTo>
                      <a:pt x="14341" y="3123"/>
                    </a:lnTo>
                    <a:lnTo>
                      <a:pt x="14695" y="3123"/>
                    </a:lnTo>
                    <a:lnTo>
                      <a:pt x="14872" y="3123"/>
                    </a:lnTo>
                    <a:lnTo>
                      <a:pt x="15403" y="3094"/>
                    </a:lnTo>
                    <a:lnTo>
                      <a:pt x="15934" y="12290"/>
                    </a:lnTo>
                    <a:lnTo>
                      <a:pt x="16289" y="17160"/>
                    </a:lnTo>
                    <a:lnTo>
                      <a:pt x="16289" y="19308"/>
                    </a:lnTo>
                    <a:lnTo>
                      <a:pt x="16289" y="20425"/>
                    </a:lnTo>
                    <a:lnTo>
                      <a:pt x="16111" y="20540"/>
                    </a:lnTo>
                    <a:lnTo>
                      <a:pt x="16111" y="20626"/>
                    </a:lnTo>
                    <a:lnTo>
                      <a:pt x="15934" y="20769"/>
                    </a:lnTo>
                    <a:lnTo>
                      <a:pt x="15934" y="20855"/>
                    </a:lnTo>
                    <a:lnTo>
                      <a:pt x="15580" y="20884"/>
                    </a:lnTo>
                    <a:lnTo>
                      <a:pt x="15403" y="20912"/>
                    </a:lnTo>
                    <a:lnTo>
                      <a:pt x="14872" y="20912"/>
                    </a:lnTo>
                    <a:lnTo>
                      <a:pt x="14518" y="20912"/>
                    </a:lnTo>
                    <a:lnTo>
                      <a:pt x="14341" y="20912"/>
                    </a:lnTo>
                    <a:lnTo>
                      <a:pt x="14341" y="20884"/>
                    </a:lnTo>
                    <a:lnTo>
                      <a:pt x="14164" y="20884"/>
                    </a:lnTo>
                    <a:lnTo>
                      <a:pt x="14341" y="20683"/>
                    </a:lnTo>
                    <a:lnTo>
                      <a:pt x="14341" y="20425"/>
                    </a:lnTo>
                    <a:lnTo>
                      <a:pt x="14518" y="19967"/>
                    </a:lnTo>
                    <a:lnTo>
                      <a:pt x="14695" y="19108"/>
                    </a:lnTo>
                    <a:lnTo>
                      <a:pt x="14695" y="17790"/>
                    </a:lnTo>
                    <a:lnTo>
                      <a:pt x="14695" y="16959"/>
                    </a:lnTo>
                    <a:lnTo>
                      <a:pt x="14518" y="16529"/>
                    </a:lnTo>
                    <a:lnTo>
                      <a:pt x="14518" y="16300"/>
                    </a:lnTo>
                    <a:lnTo>
                      <a:pt x="14518" y="15555"/>
                    </a:lnTo>
                    <a:lnTo>
                      <a:pt x="14518" y="14238"/>
                    </a:lnTo>
                    <a:lnTo>
                      <a:pt x="14341" y="12719"/>
                    </a:lnTo>
                    <a:lnTo>
                      <a:pt x="14164" y="11258"/>
                    </a:lnTo>
                    <a:lnTo>
                      <a:pt x="14164" y="11001"/>
                    </a:lnTo>
                    <a:lnTo>
                      <a:pt x="14164" y="10198"/>
                    </a:lnTo>
                    <a:lnTo>
                      <a:pt x="14164" y="8480"/>
                    </a:lnTo>
                    <a:lnTo>
                      <a:pt x="14164" y="5386"/>
                    </a:lnTo>
                    <a:lnTo>
                      <a:pt x="11331" y="5214"/>
                    </a:lnTo>
                    <a:lnTo>
                      <a:pt x="11862" y="13206"/>
                    </a:lnTo>
                    <a:lnTo>
                      <a:pt x="12216" y="17503"/>
                    </a:lnTo>
                    <a:lnTo>
                      <a:pt x="12216" y="19509"/>
                    </a:lnTo>
                    <a:lnTo>
                      <a:pt x="12039" y="20569"/>
                    </a:lnTo>
                    <a:lnTo>
                      <a:pt x="12039" y="20655"/>
                    </a:lnTo>
                    <a:lnTo>
                      <a:pt x="11862" y="20769"/>
                    </a:lnTo>
                    <a:lnTo>
                      <a:pt x="11862" y="20884"/>
                    </a:lnTo>
                    <a:lnTo>
                      <a:pt x="11685" y="20998"/>
                    </a:lnTo>
                    <a:lnTo>
                      <a:pt x="11508" y="21027"/>
                    </a:lnTo>
                    <a:lnTo>
                      <a:pt x="11331" y="21056"/>
                    </a:lnTo>
                    <a:lnTo>
                      <a:pt x="10800" y="21056"/>
                    </a:lnTo>
                    <a:lnTo>
                      <a:pt x="10446" y="21056"/>
                    </a:lnTo>
                    <a:lnTo>
                      <a:pt x="10269" y="21027"/>
                    </a:lnTo>
                    <a:lnTo>
                      <a:pt x="10092" y="21027"/>
                    </a:lnTo>
                    <a:lnTo>
                      <a:pt x="9915" y="21027"/>
                    </a:lnTo>
                    <a:lnTo>
                      <a:pt x="9561" y="21027"/>
                    </a:lnTo>
                    <a:lnTo>
                      <a:pt x="10092" y="20827"/>
                    </a:lnTo>
                    <a:lnTo>
                      <a:pt x="10269" y="20569"/>
                    </a:lnTo>
                    <a:lnTo>
                      <a:pt x="10446" y="20110"/>
                    </a:lnTo>
                    <a:lnTo>
                      <a:pt x="10623" y="19222"/>
                    </a:lnTo>
                    <a:lnTo>
                      <a:pt x="10623" y="17933"/>
                    </a:lnTo>
                    <a:lnTo>
                      <a:pt x="10623" y="17102"/>
                    </a:lnTo>
                    <a:lnTo>
                      <a:pt x="10446" y="16673"/>
                    </a:lnTo>
                    <a:lnTo>
                      <a:pt x="10446" y="16444"/>
                    </a:lnTo>
                    <a:lnTo>
                      <a:pt x="10446" y="15670"/>
                    </a:lnTo>
                    <a:lnTo>
                      <a:pt x="10446" y="14352"/>
                    </a:lnTo>
                    <a:lnTo>
                      <a:pt x="10269" y="12834"/>
                    </a:lnTo>
                    <a:lnTo>
                      <a:pt x="9915" y="11402"/>
                    </a:lnTo>
                    <a:lnTo>
                      <a:pt x="9915" y="11086"/>
                    </a:lnTo>
                    <a:lnTo>
                      <a:pt x="9915" y="10284"/>
                    </a:lnTo>
                    <a:lnTo>
                      <a:pt x="9561" y="8508"/>
                    </a:lnTo>
                    <a:lnTo>
                      <a:pt x="9561" y="5357"/>
                    </a:lnTo>
                    <a:lnTo>
                      <a:pt x="0" y="5328"/>
                    </a:lnTo>
                    <a:lnTo>
                      <a:pt x="0" y="21600"/>
                    </a:lnTo>
                    <a:lnTo>
                      <a:pt x="3187" y="21600"/>
                    </a:lnTo>
                    <a:lnTo>
                      <a:pt x="6020" y="21543"/>
                    </a:lnTo>
                    <a:lnTo>
                      <a:pt x="8852" y="21514"/>
                    </a:lnTo>
                    <a:lnTo>
                      <a:pt x="11508" y="21485"/>
                    </a:lnTo>
                    <a:lnTo>
                      <a:pt x="13810" y="21457"/>
                    </a:lnTo>
                    <a:lnTo>
                      <a:pt x="15757" y="21428"/>
                    </a:lnTo>
                    <a:lnTo>
                      <a:pt x="17351" y="21342"/>
                    </a:lnTo>
                    <a:lnTo>
                      <a:pt x="18413" y="21314"/>
                    </a:lnTo>
                    <a:lnTo>
                      <a:pt x="18590" y="18879"/>
                    </a:lnTo>
                    <a:lnTo>
                      <a:pt x="18767" y="14180"/>
                    </a:lnTo>
                    <a:lnTo>
                      <a:pt x="18413" y="8680"/>
                    </a:lnTo>
                    <a:lnTo>
                      <a:pt x="17174" y="3638"/>
                    </a:lnTo>
                    <a:lnTo>
                      <a:pt x="17351" y="3380"/>
                    </a:lnTo>
                    <a:lnTo>
                      <a:pt x="18059" y="3094"/>
                    </a:lnTo>
                    <a:lnTo>
                      <a:pt x="18590" y="2836"/>
                    </a:lnTo>
                    <a:lnTo>
                      <a:pt x="18767" y="2636"/>
                    </a:lnTo>
                    <a:lnTo>
                      <a:pt x="18944" y="2349"/>
                    </a:lnTo>
                    <a:lnTo>
                      <a:pt x="19830" y="2034"/>
                    </a:lnTo>
                    <a:lnTo>
                      <a:pt x="20715" y="1747"/>
                    </a:lnTo>
                    <a:lnTo>
                      <a:pt x="21246" y="1461"/>
                    </a:lnTo>
                    <a:lnTo>
                      <a:pt x="21423" y="1260"/>
                    </a:lnTo>
                    <a:lnTo>
                      <a:pt x="21423" y="1060"/>
                    </a:lnTo>
                    <a:lnTo>
                      <a:pt x="21600" y="917"/>
                    </a:lnTo>
                    <a:lnTo>
                      <a:pt x="21600" y="802"/>
                    </a:lnTo>
                    <a:lnTo>
                      <a:pt x="21600" y="716"/>
                    </a:lnTo>
                    <a:lnTo>
                      <a:pt x="21600" y="516"/>
                    </a:lnTo>
                    <a:lnTo>
                      <a:pt x="21246" y="372"/>
                    </a:lnTo>
                    <a:lnTo>
                      <a:pt x="21069" y="229"/>
                    </a:lnTo>
                    <a:lnTo>
                      <a:pt x="20892" y="57"/>
                    </a:lnTo>
                    <a:lnTo>
                      <a:pt x="17528" y="86"/>
                    </a:lnTo>
                    <a:lnTo>
                      <a:pt x="14518" y="86"/>
                    </a:lnTo>
                    <a:lnTo>
                      <a:pt x="11685" y="86"/>
                    </a:lnTo>
                    <a:lnTo>
                      <a:pt x="9030" y="86"/>
                    </a:lnTo>
                    <a:lnTo>
                      <a:pt x="6551" y="57"/>
                    </a:lnTo>
                    <a:lnTo>
                      <a:pt x="4426" y="57"/>
                    </a:lnTo>
                    <a:lnTo>
                      <a:pt x="2125" y="29"/>
                    </a:lnTo>
                    <a:lnTo>
                      <a:pt x="0" y="0"/>
                    </a:lnTo>
                    <a:lnTo>
                      <a:pt x="0" y="258"/>
                    </a:lnTo>
                    <a:lnTo>
                      <a:pt x="2479" y="258"/>
                    </a:lnTo>
                    <a:lnTo>
                      <a:pt x="4957" y="258"/>
                    </a:lnTo>
                    <a:lnTo>
                      <a:pt x="7436" y="258"/>
                    </a:lnTo>
                    <a:lnTo>
                      <a:pt x="9915" y="258"/>
                    </a:lnTo>
                    <a:lnTo>
                      <a:pt x="12216" y="286"/>
                    </a:lnTo>
                    <a:lnTo>
                      <a:pt x="14695" y="286"/>
                    </a:lnTo>
                    <a:lnTo>
                      <a:pt x="16997" y="286"/>
                    </a:lnTo>
                    <a:lnTo>
                      <a:pt x="19475" y="286"/>
                    </a:lnTo>
                    <a:lnTo>
                      <a:pt x="19652" y="516"/>
                    </a:lnTo>
                    <a:lnTo>
                      <a:pt x="19830" y="802"/>
                    </a:lnTo>
                    <a:lnTo>
                      <a:pt x="20007" y="1031"/>
                    </a:lnTo>
                    <a:lnTo>
                      <a:pt x="20184" y="1289"/>
                    </a:lnTo>
                    <a:lnTo>
                      <a:pt x="17882" y="1289"/>
                    </a:lnTo>
                    <a:lnTo>
                      <a:pt x="15226" y="1289"/>
                    </a:lnTo>
                    <a:lnTo>
                      <a:pt x="12748" y="1289"/>
                    </a:lnTo>
                    <a:lnTo>
                      <a:pt x="10269" y="1289"/>
                    </a:lnTo>
                    <a:lnTo>
                      <a:pt x="7613" y="1289"/>
                    </a:lnTo>
                    <a:lnTo>
                      <a:pt x="5134" y="1289"/>
                    </a:lnTo>
                    <a:lnTo>
                      <a:pt x="2479" y="1289"/>
                    </a:lnTo>
                    <a:lnTo>
                      <a:pt x="0" y="1289"/>
                    </a:lnTo>
                    <a:lnTo>
                      <a:pt x="0" y="1977"/>
                    </a:lnTo>
                    <a:lnTo>
                      <a:pt x="11508" y="2005"/>
                    </a:lnTo>
                    <a:lnTo>
                      <a:pt x="11862" y="1891"/>
                    </a:lnTo>
                    <a:lnTo>
                      <a:pt x="12748" y="1747"/>
                    </a:lnTo>
                    <a:lnTo>
                      <a:pt x="13279" y="1662"/>
                    </a:lnTo>
                    <a:lnTo>
                      <a:pt x="14341" y="1518"/>
                    </a:lnTo>
                    <a:lnTo>
                      <a:pt x="15757" y="1518"/>
                    </a:lnTo>
                    <a:lnTo>
                      <a:pt x="17174" y="1518"/>
                    </a:lnTo>
                    <a:lnTo>
                      <a:pt x="18413" y="1518"/>
                    </a:lnTo>
                    <a:lnTo>
                      <a:pt x="19830" y="1518"/>
                    </a:lnTo>
                    <a:lnTo>
                      <a:pt x="18590" y="1747"/>
                    </a:lnTo>
                    <a:lnTo>
                      <a:pt x="17528" y="2005"/>
                    </a:lnTo>
                    <a:lnTo>
                      <a:pt x="16997" y="2234"/>
                    </a:lnTo>
                    <a:lnTo>
                      <a:pt x="16820" y="2521"/>
                    </a:lnTo>
                    <a:lnTo>
                      <a:pt x="15403" y="2521"/>
                    </a:lnTo>
                    <a:lnTo>
                      <a:pt x="13987" y="2521"/>
                    </a:lnTo>
                    <a:lnTo>
                      <a:pt x="12216" y="2521"/>
                    </a:lnTo>
                    <a:lnTo>
                      <a:pt x="10800" y="2521"/>
                    </a:lnTo>
                    <a:lnTo>
                      <a:pt x="10800" y="2378"/>
                    </a:lnTo>
                    <a:lnTo>
                      <a:pt x="10800" y="2234"/>
                    </a:lnTo>
                    <a:lnTo>
                      <a:pt x="11154" y="2149"/>
                    </a:lnTo>
                    <a:lnTo>
                      <a:pt x="11508" y="2005"/>
                    </a:lnTo>
                    <a:lnTo>
                      <a:pt x="0" y="1977"/>
                    </a:lnTo>
                    <a:lnTo>
                      <a:pt x="0" y="2779"/>
                    </a:lnTo>
                    <a:lnTo>
                      <a:pt x="2479" y="2779"/>
                    </a:lnTo>
                    <a:lnTo>
                      <a:pt x="4957" y="2779"/>
                    </a:lnTo>
                    <a:lnTo>
                      <a:pt x="7436" y="2779"/>
                    </a:lnTo>
                    <a:lnTo>
                      <a:pt x="9561" y="2779"/>
                    </a:lnTo>
                    <a:lnTo>
                      <a:pt x="11685" y="2779"/>
                    </a:lnTo>
                    <a:lnTo>
                      <a:pt x="13810" y="2779"/>
                    </a:lnTo>
                    <a:lnTo>
                      <a:pt x="15403" y="2807"/>
                    </a:lnTo>
                    <a:lnTo>
                      <a:pt x="16643" y="2807"/>
                    </a:lnTo>
                    <a:lnTo>
                      <a:pt x="16643" y="2865"/>
                    </a:lnTo>
                    <a:lnTo>
                      <a:pt x="16643" y="2951"/>
                    </a:lnTo>
                    <a:lnTo>
                      <a:pt x="16643" y="3008"/>
                    </a:lnTo>
                    <a:lnTo>
                      <a:pt x="16289" y="3065"/>
                    </a:lnTo>
                    <a:lnTo>
                      <a:pt x="15757" y="3065"/>
                    </a:lnTo>
                    <a:lnTo>
                      <a:pt x="15226" y="3094"/>
                    </a:lnTo>
                    <a:lnTo>
                      <a:pt x="14341" y="3094"/>
                    </a:lnTo>
                    <a:lnTo>
                      <a:pt x="13810" y="3123"/>
                    </a:lnTo>
                    <a:lnTo>
                      <a:pt x="11331" y="3123"/>
                    </a:lnTo>
                    <a:lnTo>
                      <a:pt x="9030" y="3094"/>
                    </a:lnTo>
                    <a:lnTo>
                      <a:pt x="7259" y="3094"/>
                    </a:lnTo>
                    <a:lnTo>
                      <a:pt x="5489" y="3094"/>
                    </a:lnTo>
                    <a:lnTo>
                      <a:pt x="3895" y="3065"/>
                    </a:lnTo>
                    <a:lnTo>
                      <a:pt x="2479" y="3065"/>
                    </a:lnTo>
                    <a:lnTo>
                      <a:pt x="1239" y="3065"/>
                    </a:lnTo>
                    <a:lnTo>
                      <a:pt x="0" y="3065"/>
                    </a:lnTo>
                    <a:lnTo>
                      <a:pt x="0" y="5328"/>
                    </a:lnTo>
                    <a:lnTo>
                      <a:pt x="9561" y="5357"/>
                    </a:lnTo>
                    <a:lnTo>
                      <a:pt x="9561" y="5242"/>
                    </a:lnTo>
                    <a:lnTo>
                      <a:pt x="9561" y="5156"/>
                    </a:lnTo>
                    <a:lnTo>
                      <a:pt x="9561" y="5042"/>
                    </a:lnTo>
                    <a:lnTo>
                      <a:pt x="9561" y="4956"/>
                    </a:lnTo>
                    <a:lnTo>
                      <a:pt x="9561" y="4526"/>
                    </a:lnTo>
                    <a:lnTo>
                      <a:pt x="9915" y="4125"/>
                    </a:lnTo>
                    <a:lnTo>
                      <a:pt x="9915" y="3695"/>
                    </a:lnTo>
                    <a:lnTo>
                      <a:pt x="9915" y="3294"/>
                    </a:lnTo>
                    <a:lnTo>
                      <a:pt x="10269" y="3266"/>
                    </a:lnTo>
                    <a:lnTo>
                      <a:pt x="10446" y="3266"/>
                    </a:lnTo>
                    <a:lnTo>
                      <a:pt x="10800" y="3266"/>
                    </a:lnTo>
                    <a:lnTo>
                      <a:pt x="11154" y="3237"/>
                    </a:lnTo>
                    <a:lnTo>
                      <a:pt x="11331" y="3753"/>
                    </a:lnTo>
                    <a:lnTo>
                      <a:pt x="11331" y="4268"/>
                    </a:lnTo>
                    <a:lnTo>
                      <a:pt x="11331" y="4727"/>
                    </a:lnTo>
                    <a:lnTo>
                      <a:pt x="11331" y="5214"/>
                    </a:lnTo>
                    <a:lnTo>
                      <a:pt x="14164" y="5386"/>
                    </a:lnTo>
                    <a:close/>
                    <a:moveTo>
                      <a:pt x="14164" y="5386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48" name="Freeform 48"/>
              <p:cNvSpPr>
                <a:spLocks/>
              </p:cNvSpPr>
              <p:nvPr/>
            </p:nvSpPr>
            <p:spPr bwMode="gray">
              <a:xfrm>
                <a:off x="97" y="71"/>
                <a:ext cx="12" cy="10"/>
              </a:xfrm>
              <a:custGeom>
                <a:avLst/>
                <a:gdLst>
                  <a:gd name="T0" fmla="*/ 372 w 21600"/>
                  <a:gd name="T1" fmla="*/ 1925 h 21600"/>
                  <a:gd name="T2" fmla="*/ 0 w 21600"/>
                  <a:gd name="T3" fmla="*/ 4919 h 21600"/>
                  <a:gd name="T4" fmla="*/ 2421 w 21600"/>
                  <a:gd name="T5" fmla="*/ 6630 h 21600"/>
                  <a:gd name="T6" fmla="*/ 2421 w 21600"/>
                  <a:gd name="T7" fmla="*/ 8127 h 21600"/>
                  <a:gd name="T8" fmla="*/ 2234 w 21600"/>
                  <a:gd name="T9" fmla="*/ 9624 h 21600"/>
                  <a:gd name="T10" fmla="*/ 7076 w 21600"/>
                  <a:gd name="T11" fmla="*/ 9624 h 21600"/>
                  <a:gd name="T12" fmla="*/ 12103 w 21600"/>
                  <a:gd name="T13" fmla="*/ 9624 h 21600"/>
                  <a:gd name="T14" fmla="*/ 16759 w 21600"/>
                  <a:gd name="T15" fmla="*/ 9624 h 21600"/>
                  <a:gd name="T16" fmla="*/ 21600 w 21600"/>
                  <a:gd name="T17" fmla="*/ 9624 h 21600"/>
                  <a:gd name="T18" fmla="*/ 2793 w 21600"/>
                  <a:gd name="T19" fmla="*/ 14329 h 21600"/>
                  <a:gd name="T20" fmla="*/ 5214 w 21600"/>
                  <a:gd name="T21" fmla="*/ 17109 h 21600"/>
                  <a:gd name="T22" fmla="*/ 6703 w 21600"/>
                  <a:gd name="T23" fmla="*/ 20103 h 21600"/>
                  <a:gd name="T24" fmla="*/ 6703 w 21600"/>
                  <a:gd name="T25" fmla="*/ 20958 h 21600"/>
                  <a:gd name="T26" fmla="*/ 6703 w 21600"/>
                  <a:gd name="T27" fmla="*/ 21600 h 21600"/>
                  <a:gd name="T28" fmla="*/ 8193 w 21600"/>
                  <a:gd name="T29" fmla="*/ 21386 h 21600"/>
                  <a:gd name="T30" fmla="*/ 8193 w 21600"/>
                  <a:gd name="T31" fmla="*/ 20958 h 21600"/>
                  <a:gd name="T32" fmla="*/ 8938 w 21600"/>
                  <a:gd name="T33" fmla="*/ 20745 h 21600"/>
                  <a:gd name="T34" fmla="*/ 11359 w 21600"/>
                  <a:gd name="T35" fmla="*/ 20745 h 21600"/>
                  <a:gd name="T36" fmla="*/ 15083 w 21600"/>
                  <a:gd name="T37" fmla="*/ 20745 h 21600"/>
                  <a:gd name="T38" fmla="*/ 19366 w 21600"/>
                  <a:gd name="T39" fmla="*/ 20745 h 21600"/>
                  <a:gd name="T40" fmla="*/ 21600 w 21600"/>
                  <a:gd name="T41" fmla="*/ 14756 h 21600"/>
                  <a:gd name="T42" fmla="*/ 2234 w 21600"/>
                  <a:gd name="T43" fmla="*/ 13259 h 21600"/>
                  <a:gd name="T44" fmla="*/ 931 w 21600"/>
                  <a:gd name="T45" fmla="*/ 11549 h 21600"/>
                  <a:gd name="T46" fmla="*/ 372 w 21600"/>
                  <a:gd name="T47" fmla="*/ 9624 h 21600"/>
                  <a:gd name="T48" fmla="*/ 186 w 21600"/>
                  <a:gd name="T49" fmla="*/ 7699 h 21600"/>
                  <a:gd name="T50" fmla="*/ 2421 w 21600"/>
                  <a:gd name="T51" fmla="*/ 6630 h 21600"/>
                  <a:gd name="T52" fmla="*/ 2607 w 21600"/>
                  <a:gd name="T53" fmla="*/ 4277 h 21600"/>
                  <a:gd name="T54" fmla="*/ 2793 w 21600"/>
                  <a:gd name="T55" fmla="*/ 1925 h 21600"/>
                  <a:gd name="T56" fmla="*/ 7448 w 21600"/>
                  <a:gd name="T57" fmla="*/ 1925 h 21600"/>
                  <a:gd name="T58" fmla="*/ 12290 w 21600"/>
                  <a:gd name="T59" fmla="*/ 1925 h 21600"/>
                  <a:gd name="T60" fmla="*/ 16945 w 21600"/>
                  <a:gd name="T61" fmla="*/ 1925 h 21600"/>
                  <a:gd name="T62" fmla="*/ 21600 w 21600"/>
                  <a:gd name="T63" fmla="*/ 1925 h 21600"/>
                  <a:gd name="T64" fmla="*/ 1117 w 21600"/>
                  <a:gd name="T65" fmla="*/ 42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600" h="21600">
                    <a:moveTo>
                      <a:pt x="1117" y="428"/>
                    </a:moveTo>
                    <a:lnTo>
                      <a:pt x="372" y="1925"/>
                    </a:lnTo>
                    <a:lnTo>
                      <a:pt x="186" y="3422"/>
                    </a:lnTo>
                    <a:lnTo>
                      <a:pt x="0" y="4919"/>
                    </a:lnTo>
                    <a:lnTo>
                      <a:pt x="0" y="6630"/>
                    </a:lnTo>
                    <a:lnTo>
                      <a:pt x="2421" y="6630"/>
                    </a:lnTo>
                    <a:lnTo>
                      <a:pt x="2421" y="7485"/>
                    </a:lnTo>
                    <a:lnTo>
                      <a:pt x="2421" y="8127"/>
                    </a:lnTo>
                    <a:lnTo>
                      <a:pt x="2421" y="8768"/>
                    </a:lnTo>
                    <a:lnTo>
                      <a:pt x="2234" y="9624"/>
                    </a:lnTo>
                    <a:lnTo>
                      <a:pt x="4655" y="9624"/>
                    </a:lnTo>
                    <a:lnTo>
                      <a:pt x="7076" y="9624"/>
                    </a:lnTo>
                    <a:lnTo>
                      <a:pt x="9683" y="9624"/>
                    </a:lnTo>
                    <a:lnTo>
                      <a:pt x="12103" y="9624"/>
                    </a:lnTo>
                    <a:lnTo>
                      <a:pt x="14338" y="9624"/>
                    </a:lnTo>
                    <a:lnTo>
                      <a:pt x="16759" y="9624"/>
                    </a:lnTo>
                    <a:lnTo>
                      <a:pt x="19366" y="9624"/>
                    </a:lnTo>
                    <a:lnTo>
                      <a:pt x="21600" y="9624"/>
                    </a:lnTo>
                    <a:lnTo>
                      <a:pt x="21600" y="14756"/>
                    </a:lnTo>
                    <a:lnTo>
                      <a:pt x="2793" y="14329"/>
                    </a:lnTo>
                    <a:lnTo>
                      <a:pt x="4097" y="15612"/>
                    </a:lnTo>
                    <a:lnTo>
                      <a:pt x="5214" y="17109"/>
                    </a:lnTo>
                    <a:lnTo>
                      <a:pt x="5959" y="18392"/>
                    </a:lnTo>
                    <a:lnTo>
                      <a:pt x="6703" y="20103"/>
                    </a:lnTo>
                    <a:lnTo>
                      <a:pt x="6703" y="20531"/>
                    </a:lnTo>
                    <a:lnTo>
                      <a:pt x="6703" y="20958"/>
                    </a:lnTo>
                    <a:lnTo>
                      <a:pt x="6703" y="21172"/>
                    </a:lnTo>
                    <a:lnTo>
                      <a:pt x="6703" y="21600"/>
                    </a:lnTo>
                    <a:lnTo>
                      <a:pt x="8193" y="21600"/>
                    </a:lnTo>
                    <a:lnTo>
                      <a:pt x="8193" y="21386"/>
                    </a:lnTo>
                    <a:lnTo>
                      <a:pt x="8193" y="21172"/>
                    </a:lnTo>
                    <a:lnTo>
                      <a:pt x="8193" y="20958"/>
                    </a:lnTo>
                    <a:lnTo>
                      <a:pt x="8193" y="20745"/>
                    </a:lnTo>
                    <a:lnTo>
                      <a:pt x="8938" y="20745"/>
                    </a:lnTo>
                    <a:lnTo>
                      <a:pt x="10055" y="20745"/>
                    </a:lnTo>
                    <a:lnTo>
                      <a:pt x="11359" y="20745"/>
                    </a:lnTo>
                    <a:lnTo>
                      <a:pt x="13034" y="20745"/>
                    </a:lnTo>
                    <a:lnTo>
                      <a:pt x="15083" y="20745"/>
                    </a:lnTo>
                    <a:lnTo>
                      <a:pt x="17131" y="20745"/>
                    </a:lnTo>
                    <a:lnTo>
                      <a:pt x="19366" y="20745"/>
                    </a:lnTo>
                    <a:lnTo>
                      <a:pt x="21600" y="20745"/>
                    </a:lnTo>
                    <a:lnTo>
                      <a:pt x="21600" y="14756"/>
                    </a:lnTo>
                    <a:lnTo>
                      <a:pt x="2793" y="14329"/>
                    </a:lnTo>
                    <a:lnTo>
                      <a:pt x="2234" y="13259"/>
                    </a:lnTo>
                    <a:lnTo>
                      <a:pt x="1490" y="12618"/>
                    </a:lnTo>
                    <a:lnTo>
                      <a:pt x="931" y="11549"/>
                    </a:lnTo>
                    <a:lnTo>
                      <a:pt x="372" y="10693"/>
                    </a:lnTo>
                    <a:lnTo>
                      <a:pt x="372" y="9624"/>
                    </a:lnTo>
                    <a:lnTo>
                      <a:pt x="186" y="8554"/>
                    </a:lnTo>
                    <a:lnTo>
                      <a:pt x="186" y="7699"/>
                    </a:lnTo>
                    <a:lnTo>
                      <a:pt x="0" y="6630"/>
                    </a:lnTo>
                    <a:lnTo>
                      <a:pt x="2421" y="6630"/>
                    </a:lnTo>
                    <a:lnTo>
                      <a:pt x="2607" y="5347"/>
                    </a:lnTo>
                    <a:lnTo>
                      <a:pt x="2607" y="4277"/>
                    </a:lnTo>
                    <a:lnTo>
                      <a:pt x="2607" y="3208"/>
                    </a:lnTo>
                    <a:lnTo>
                      <a:pt x="2793" y="1925"/>
                    </a:lnTo>
                    <a:lnTo>
                      <a:pt x="5214" y="1925"/>
                    </a:lnTo>
                    <a:lnTo>
                      <a:pt x="7448" y="1925"/>
                    </a:lnTo>
                    <a:lnTo>
                      <a:pt x="9869" y="1925"/>
                    </a:lnTo>
                    <a:lnTo>
                      <a:pt x="12290" y="1925"/>
                    </a:lnTo>
                    <a:lnTo>
                      <a:pt x="14524" y="1925"/>
                    </a:lnTo>
                    <a:lnTo>
                      <a:pt x="16945" y="1925"/>
                    </a:lnTo>
                    <a:lnTo>
                      <a:pt x="19366" y="1925"/>
                    </a:lnTo>
                    <a:lnTo>
                      <a:pt x="21600" y="1925"/>
                    </a:lnTo>
                    <a:lnTo>
                      <a:pt x="21600" y="0"/>
                    </a:lnTo>
                    <a:lnTo>
                      <a:pt x="1117" y="428"/>
                    </a:lnTo>
                    <a:close/>
                    <a:moveTo>
                      <a:pt x="1117" y="42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59" name="Freeform 49"/>
              <p:cNvSpPr>
                <a:spLocks/>
              </p:cNvSpPr>
              <p:nvPr/>
            </p:nvSpPr>
            <p:spPr bwMode="gray">
              <a:xfrm>
                <a:off x="98" y="81"/>
                <a:ext cx="11" cy="68"/>
              </a:xfrm>
              <a:custGeom>
                <a:avLst/>
                <a:gdLst>
                  <a:gd name="T0" fmla="*/ 21600 w 21600"/>
                  <a:gd name="T1" fmla="*/ 2812 h 21600"/>
                  <a:gd name="T2" fmla="*/ 7759 w 21600"/>
                  <a:gd name="T3" fmla="*/ 2183 h 21600"/>
                  <a:gd name="T4" fmla="*/ 7759 w 21600"/>
                  <a:gd name="T5" fmla="*/ 1092 h 21600"/>
                  <a:gd name="T6" fmla="*/ 7130 w 21600"/>
                  <a:gd name="T7" fmla="*/ 496 h 21600"/>
                  <a:gd name="T8" fmla="*/ 6501 w 21600"/>
                  <a:gd name="T9" fmla="*/ 496 h 21600"/>
                  <a:gd name="T10" fmla="*/ 5872 w 21600"/>
                  <a:gd name="T11" fmla="*/ 959 h 21600"/>
                  <a:gd name="T12" fmla="*/ 5662 w 21600"/>
                  <a:gd name="T13" fmla="*/ 1952 h 21600"/>
                  <a:gd name="T14" fmla="*/ 5243 w 21600"/>
                  <a:gd name="T15" fmla="*/ 3936 h 21600"/>
                  <a:gd name="T16" fmla="*/ 4194 w 21600"/>
                  <a:gd name="T17" fmla="*/ 8170 h 21600"/>
                  <a:gd name="T18" fmla="*/ 3775 w 21600"/>
                  <a:gd name="T19" fmla="*/ 12107 h 21600"/>
                  <a:gd name="T20" fmla="*/ 3355 w 21600"/>
                  <a:gd name="T21" fmla="*/ 13760 h 21600"/>
                  <a:gd name="T22" fmla="*/ 2936 w 21600"/>
                  <a:gd name="T23" fmla="*/ 16241 h 21600"/>
                  <a:gd name="T24" fmla="*/ 2307 w 21600"/>
                  <a:gd name="T25" fmla="*/ 18491 h 21600"/>
                  <a:gd name="T26" fmla="*/ 2517 w 21600"/>
                  <a:gd name="T27" fmla="*/ 21104 h 21600"/>
                  <a:gd name="T28" fmla="*/ 3565 w 21600"/>
                  <a:gd name="T29" fmla="*/ 21038 h 21600"/>
                  <a:gd name="T30" fmla="*/ 4194 w 21600"/>
                  <a:gd name="T31" fmla="*/ 20674 h 21600"/>
                  <a:gd name="T32" fmla="*/ 4614 w 21600"/>
                  <a:gd name="T33" fmla="*/ 19979 h 21600"/>
                  <a:gd name="T34" fmla="*/ 5662 w 21600"/>
                  <a:gd name="T35" fmla="*/ 13959 h 21600"/>
                  <a:gd name="T36" fmla="*/ 6920 w 21600"/>
                  <a:gd name="T37" fmla="*/ 6913 h 21600"/>
                  <a:gd name="T38" fmla="*/ 7340 w 21600"/>
                  <a:gd name="T39" fmla="*/ 4862 h 21600"/>
                  <a:gd name="T40" fmla="*/ 7340 w 21600"/>
                  <a:gd name="T41" fmla="*/ 3506 h 21600"/>
                  <a:gd name="T42" fmla="*/ 21600 w 21600"/>
                  <a:gd name="T43" fmla="*/ 2812 h 21600"/>
                  <a:gd name="T44" fmla="*/ 16986 w 21600"/>
                  <a:gd name="T45" fmla="*/ 21600 h 21600"/>
                  <a:gd name="T46" fmla="*/ 8808 w 21600"/>
                  <a:gd name="T47" fmla="*/ 21534 h 21600"/>
                  <a:gd name="T48" fmla="*/ 2936 w 21600"/>
                  <a:gd name="T49" fmla="*/ 21435 h 21600"/>
                  <a:gd name="T50" fmla="*/ 0 w 21600"/>
                  <a:gd name="T51" fmla="*/ 21203 h 21600"/>
                  <a:gd name="T52" fmla="*/ 839 w 21600"/>
                  <a:gd name="T53" fmla="*/ 18160 h 21600"/>
                  <a:gd name="T54" fmla="*/ 2307 w 21600"/>
                  <a:gd name="T55" fmla="*/ 11379 h 21600"/>
                  <a:gd name="T56" fmla="*/ 3355 w 21600"/>
                  <a:gd name="T57" fmla="*/ 8137 h 21600"/>
                  <a:gd name="T58" fmla="*/ 3984 w 21600"/>
                  <a:gd name="T59" fmla="*/ 4565 h 21600"/>
                  <a:gd name="T60" fmla="*/ 5452 w 21600"/>
                  <a:gd name="T61" fmla="*/ 2712 h 21600"/>
                  <a:gd name="T62" fmla="*/ 4194 w 21600"/>
                  <a:gd name="T63" fmla="*/ 2084 h 21600"/>
                  <a:gd name="T64" fmla="*/ 4614 w 21600"/>
                  <a:gd name="T65" fmla="*/ 695 h 21600"/>
                  <a:gd name="T66" fmla="*/ 6501 w 21600"/>
                  <a:gd name="T67" fmla="*/ 0 h 21600"/>
                  <a:gd name="T68" fmla="*/ 6711 w 21600"/>
                  <a:gd name="T69" fmla="*/ 132 h 21600"/>
                  <a:gd name="T70" fmla="*/ 6711 w 21600"/>
                  <a:gd name="T71" fmla="*/ 232 h 21600"/>
                  <a:gd name="T72" fmla="*/ 11534 w 21600"/>
                  <a:gd name="T73" fmla="*/ 198 h 21600"/>
                  <a:gd name="T74" fmla="*/ 15309 w 21600"/>
                  <a:gd name="T75" fmla="*/ 198 h 21600"/>
                  <a:gd name="T76" fmla="*/ 18454 w 21600"/>
                  <a:gd name="T77" fmla="*/ 198 h 21600"/>
                  <a:gd name="T78" fmla="*/ 21600 w 21600"/>
                  <a:gd name="T79" fmla="*/ 19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1600" h="21600">
                    <a:moveTo>
                      <a:pt x="21600" y="198"/>
                    </a:moveTo>
                    <a:lnTo>
                      <a:pt x="21600" y="2812"/>
                    </a:lnTo>
                    <a:lnTo>
                      <a:pt x="7340" y="2745"/>
                    </a:lnTo>
                    <a:lnTo>
                      <a:pt x="7759" y="2183"/>
                    </a:lnTo>
                    <a:lnTo>
                      <a:pt x="7759" y="1621"/>
                    </a:lnTo>
                    <a:lnTo>
                      <a:pt x="7759" y="1092"/>
                    </a:lnTo>
                    <a:lnTo>
                      <a:pt x="7340" y="496"/>
                    </a:lnTo>
                    <a:lnTo>
                      <a:pt x="7130" y="496"/>
                    </a:lnTo>
                    <a:lnTo>
                      <a:pt x="6711" y="496"/>
                    </a:lnTo>
                    <a:lnTo>
                      <a:pt x="6501" y="496"/>
                    </a:lnTo>
                    <a:lnTo>
                      <a:pt x="6291" y="562"/>
                    </a:lnTo>
                    <a:lnTo>
                      <a:pt x="5872" y="959"/>
                    </a:lnTo>
                    <a:lnTo>
                      <a:pt x="5872" y="1389"/>
                    </a:lnTo>
                    <a:lnTo>
                      <a:pt x="5662" y="1952"/>
                    </a:lnTo>
                    <a:lnTo>
                      <a:pt x="5452" y="2712"/>
                    </a:lnTo>
                    <a:lnTo>
                      <a:pt x="5243" y="3936"/>
                    </a:lnTo>
                    <a:lnTo>
                      <a:pt x="5033" y="5689"/>
                    </a:lnTo>
                    <a:lnTo>
                      <a:pt x="4194" y="8170"/>
                    </a:lnTo>
                    <a:lnTo>
                      <a:pt x="3565" y="11445"/>
                    </a:lnTo>
                    <a:lnTo>
                      <a:pt x="3775" y="12107"/>
                    </a:lnTo>
                    <a:lnTo>
                      <a:pt x="3565" y="12735"/>
                    </a:lnTo>
                    <a:lnTo>
                      <a:pt x="3355" y="13760"/>
                    </a:lnTo>
                    <a:lnTo>
                      <a:pt x="2517" y="15613"/>
                    </a:lnTo>
                    <a:lnTo>
                      <a:pt x="2936" y="16241"/>
                    </a:lnTo>
                    <a:lnTo>
                      <a:pt x="2517" y="17035"/>
                    </a:lnTo>
                    <a:lnTo>
                      <a:pt x="2307" y="18491"/>
                    </a:lnTo>
                    <a:lnTo>
                      <a:pt x="1887" y="21137"/>
                    </a:lnTo>
                    <a:lnTo>
                      <a:pt x="2517" y="21104"/>
                    </a:lnTo>
                    <a:lnTo>
                      <a:pt x="3146" y="21038"/>
                    </a:lnTo>
                    <a:lnTo>
                      <a:pt x="3565" y="21038"/>
                    </a:lnTo>
                    <a:lnTo>
                      <a:pt x="4194" y="21005"/>
                    </a:lnTo>
                    <a:lnTo>
                      <a:pt x="4194" y="20674"/>
                    </a:lnTo>
                    <a:lnTo>
                      <a:pt x="4614" y="20343"/>
                    </a:lnTo>
                    <a:lnTo>
                      <a:pt x="4614" y="19979"/>
                    </a:lnTo>
                    <a:lnTo>
                      <a:pt x="4823" y="19648"/>
                    </a:lnTo>
                    <a:lnTo>
                      <a:pt x="5662" y="13959"/>
                    </a:lnTo>
                    <a:lnTo>
                      <a:pt x="6501" y="9758"/>
                    </a:lnTo>
                    <a:lnTo>
                      <a:pt x="6920" y="6913"/>
                    </a:lnTo>
                    <a:lnTo>
                      <a:pt x="7340" y="5326"/>
                    </a:lnTo>
                    <a:lnTo>
                      <a:pt x="7340" y="4862"/>
                    </a:lnTo>
                    <a:lnTo>
                      <a:pt x="7340" y="4234"/>
                    </a:lnTo>
                    <a:lnTo>
                      <a:pt x="7340" y="3506"/>
                    </a:lnTo>
                    <a:lnTo>
                      <a:pt x="7340" y="2745"/>
                    </a:lnTo>
                    <a:lnTo>
                      <a:pt x="21600" y="2812"/>
                    </a:lnTo>
                    <a:lnTo>
                      <a:pt x="21600" y="21600"/>
                    </a:lnTo>
                    <a:lnTo>
                      <a:pt x="16986" y="21600"/>
                    </a:lnTo>
                    <a:lnTo>
                      <a:pt x="13002" y="21600"/>
                    </a:lnTo>
                    <a:lnTo>
                      <a:pt x="8808" y="21534"/>
                    </a:lnTo>
                    <a:lnTo>
                      <a:pt x="5452" y="21501"/>
                    </a:lnTo>
                    <a:lnTo>
                      <a:pt x="2936" y="21435"/>
                    </a:lnTo>
                    <a:lnTo>
                      <a:pt x="839" y="21302"/>
                    </a:lnTo>
                    <a:lnTo>
                      <a:pt x="0" y="21203"/>
                    </a:lnTo>
                    <a:lnTo>
                      <a:pt x="210" y="21038"/>
                    </a:lnTo>
                    <a:lnTo>
                      <a:pt x="839" y="18160"/>
                    </a:lnTo>
                    <a:lnTo>
                      <a:pt x="1887" y="14488"/>
                    </a:lnTo>
                    <a:lnTo>
                      <a:pt x="2307" y="11379"/>
                    </a:lnTo>
                    <a:lnTo>
                      <a:pt x="2936" y="9957"/>
                    </a:lnTo>
                    <a:lnTo>
                      <a:pt x="3355" y="8137"/>
                    </a:lnTo>
                    <a:lnTo>
                      <a:pt x="3565" y="6351"/>
                    </a:lnTo>
                    <a:lnTo>
                      <a:pt x="3984" y="4565"/>
                    </a:lnTo>
                    <a:lnTo>
                      <a:pt x="4194" y="2712"/>
                    </a:lnTo>
                    <a:lnTo>
                      <a:pt x="5452" y="2712"/>
                    </a:lnTo>
                    <a:lnTo>
                      <a:pt x="4194" y="2712"/>
                    </a:lnTo>
                    <a:lnTo>
                      <a:pt x="4194" y="2084"/>
                    </a:lnTo>
                    <a:lnTo>
                      <a:pt x="4614" y="1389"/>
                    </a:lnTo>
                    <a:lnTo>
                      <a:pt x="4614" y="695"/>
                    </a:lnTo>
                    <a:lnTo>
                      <a:pt x="4823" y="0"/>
                    </a:lnTo>
                    <a:lnTo>
                      <a:pt x="6501" y="0"/>
                    </a:lnTo>
                    <a:lnTo>
                      <a:pt x="6501" y="66"/>
                    </a:lnTo>
                    <a:lnTo>
                      <a:pt x="6711" y="132"/>
                    </a:lnTo>
                    <a:lnTo>
                      <a:pt x="6711" y="165"/>
                    </a:lnTo>
                    <a:lnTo>
                      <a:pt x="6711" y="232"/>
                    </a:lnTo>
                    <a:lnTo>
                      <a:pt x="9437" y="232"/>
                    </a:lnTo>
                    <a:lnTo>
                      <a:pt x="11534" y="198"/>
                    </a:lnTo>
                    <a:lnTo>
                      <a:pt x="13421" y="198"/>
                    </a:lnTo>
                    <a:lnTo>
                      <a:pt x="15309" y="198"/>
                    </a:lnTo>
                    <a:lnTo>
                      <a:pt x="16986" y="198"/>
                    </a:lnTo>
                    <a:lnTo>
                      <a:pt x="18454" y="198"/>
                    </a:lnTo>
                    <a:lnTo>
                      <a:pt x="20132" y="198"/>
                    </a:lnTo>
                    <a:lnTo>
                      <a:pt x="21600" y="198"/>
                    </a:lnTo>
                    <a:close/>
                    <a:moveTo>
                      <a:pt x="21600" y="19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60" name="Freeform 50"/>
              <p:cNvSpPr>
                <a:spLocks/>
              </p:cNvSpPr>
              <p:nvPr/>
            </p:nvSpPr>
            <p:spPr bwMode="gray">
              <a:xfrm>
                <a:off x="149" y="71"/>
                <a:ext cx="13" cy="78"/>
              </a:xfrm>
              <a:custGeom>
                <a:avLst/>
                <a:gdLst>
                  <a:gd name="T0" fmla="*/ 14049 w 21600"/>
                  <a:gd name="T1" fmla="*/ 4956 h 21600"/>
                  <a:gd name="T2" fmla="*/ 14049 w 21600"/>
                  <a:gd name="T3" fmla="*/ 3552 h 21600"/>
                  <a:gd name="T4" fmla="*/ 14927 w 21600"/>
                  <a:gd name="T5" fmla="*/ 3123 h 21600"/>
                  <a:gd name="T6" fmla="*/ 16332 w 21600"/>
                  <a:gd name="T7" fmla="*/ 19308 h 21600"/>
                  <a:gd name="T8" fmla="*/ 15980 w 21600"/>
                  <a:gd name="T9" fmla="*/ 20769 h 21600"/>
                  <a:gd name="T10" fmla="*/ 14927 w 21600"/>
                  <a:gd name="T11" fmla="*/ 20912 h 21600"/>
                  <a:gd name="T12" fmla="*/ 14224 w 21600"/>
                  <a:gd name="T13" fmla="*/ 20884 h 21600"/>
                  <a:gd name="T14" fmla="*/ 14576 w 21600"/>
                  <a:gd name="T15" fmla="*/ 19967 h 21600"/>
                  <a:gd name="T16" fmla="*/ 14576 w 21600"/>
                  <a:gd name="T17" fmla="*/ 16529 h 21600"/>
                  <a:gd name="T18" fmla="*/ 14400 w 21600"/>
                  <a:gd name="T19" fmla="*/ 12719 h 21600"/>
                  <a:gd name="T20" fmla="*/ 14049 w 21600"/>
                  <a:gd name="T21" fmla="*/ 8480 h 21600"/>
                  <a:gd name="T22" fmla="*/ 11941 w 21600"/>
                  <a:gd name="T23" fmla="*/ 17503 h 21600"/>
                  <a:gd name="T24" fmla="*/ 11766 w 21600"/>
                  <a:gd name="T25" fmla="*/ 20769 h 21600"/>
                  <a:gd name="T26" fmla="*/ 11239 w 21600"/>
                  <a:gd name="T27" fmla="*/ 21056 h 21600"/>
                  <a:gd name="T28" fmla="*/ 10010 w 21600"/>
                  <a:gd name="T29" fmla="*/ 21027 h 21600"/>
                  <a:gd name="T30" fmla="*/ 10185 w 21600"/>
                  <a:gd name="T31" fmla="*/ 20569 h 21600"/>
                  <a:gd name="T32" fmla="*/ 10361 w 21600"/>
                  <a:gd name="T33" fmla="*/ 17102 h 21600"/>
                  <a:gd name="T34" fmla="*/ 10361 w 21600"/>
                  <a:gd name="T35" fmla="*/ 14352 h 21600"/>
                  <a:gd name="T36" fmla="*/ 9659 w 21600"/>
                  <a:gd name="T37" fmla="*/ 10284 h 21600"/>
                  <a:gd name="T38" fmla="*/ 0 w 21600"/>
                  <a:gd name="T39" fmla="*/ 21600 h 21600"/>
                  <a:gd name="T40" fmla="*/ 11415 w 21600"/>
                  <a:gd name="T41" fmla="*/ 21485 h 21600"/>
                  <a:gd name="T42" fmla="*/ 18439 w 21600"/>
                  <a:gd name="T43" fmla="*/ 21314 h 21600"/>
                  <a:gd name="T44" fmla="*/ 17210 w 21600"/>
                  <a:gd name="T45" fmla="*/ 3638 h 21600"/>
                  <a:gd name="T46" fmla="*/ 18790 w 21600"/>
                  <a:gd name="T47" fmla="*/ 2636 h 21600"/>
                  <a:gd name="T48" fmla="*/ 21249 w 21600"/>
                  <a:gd name="T49" fmla="*/ 1461 h 21600"/>
                  <a:gd name="T50" fmla="*/ 21600 w 21600"/>
                  <a:gd name="T51" fmla="*/ 802 h 21600"/>
                  <a:gd name="T52" fmla="*/ 21073 w 21600"/>
                  <a:gd name="T53" fmla="*/ 229 h 21600"/>
                  <a:gd name="T54" fmla="*/ 11590 w 21600"/>
                  <a:gd name="T55" fmla="*/ 86 h 21600"/>
                  <a:gd name="T56" fmla="*/ 2107 w 21600"/>
                  <a:gd name="T57" fmla="*/ 29 h 21600"/>
                  <a:gd name="T58" fmla="*/ 4917 w 21600"/>
                  <a:gd name="T59" fmla="*/ 258 h 21600"/>
                  <a:gd name="T60" fmla="*/ 14576 w 21600"/>
                  <a:gd name="T61" fmla="*/ 286 h 21600"/>
                  <a:gd name="T62" fmla="*/ 19844 w 21600"/>
                  <a:gd name="T63" fmla="*/ 802 h 21600"/>
                  <a:gd name="T64" fmla="*/ 15278 w 21600"/>
                  <a:gd name="T65" fmla="*/ 1289 h 21600"/>
                  <a:gd name="T66" fmla="*/ 5093 w 21600"/>
                  <a:gd name="T67" fmla="*/ 1289 h 21600"/>
                  <a:gd name="T68" fmla="*/ 11415 w 21600"/>
                  <a:gd name="T69" fmla="*/ 2005 h 21600"/>
                  <a:gd name="T70" fmla="*/ 14400 w 21600"/>
                  <a:gd name="T71" fmla="*/ 1518 h 21600"/>
                  <a:gd name="T72" fmla="*/ 19844 w 21600"/>
                  <a:gd name="T73" fmla="*/ 1518 h 21600"/>
                  <a:gd name="T74" fmla="*/ 16859 w 21600"/>
                  <a:gd name="T75" fmla="*/ 2521 h 21600"/>
                  <a:gd name="T76" fmla="*/ 13873 w 21600"/>
                  <a:gd name="T77" fmla="*/ 2521 h 21600"/>
                  <a:gd name="T78" fmla="*/ 10712 w 21600"/>
                  <a:gd name="T79" fmla="*/ 2521 h 21600"/>
                  <a:gd name="T80" fmla="*/ 11415 w 21600"/>
                  <a:gd name="T81" fmla="*/ 2005 h 21600"/>
                  <a:gd name="T82" fmla="*/ 4917 w 21600"/>
                  <a:gd name="T83" fmla="*/ 2779 h 21600"/>
                  <a:gd name="T84" fmla="*/ 13522 w 21600"/>
                  <a:gd name="T85" fmla="*/ 2779 h 21600"/>
                  <a:gd name="T86" fmla="*/ 16683 w 21600"/>
                  <a:gd name="T87" fmla="*/ 2951 h 21600"/>
                  <a:gd name="T88" fmla="*/ 14927 w 21600"/>
                  <a:gd name="T89" fmla="*/ 3094 h 21600"/>
                  <a:gd name="T90" fmla="*/ 8956 w 21600"/>
                  <a:gd name="T91" fmla="*/ 3094 h 21600"/>
                  <a:gd name="T92" fmla="*/ 2459 w 21600"/>
                  <a:gd name="T93" fmla="*/ 3065 h 21600"/>
                  <a:gd name="T94" fmla="*/ 9483 w 21600"/>
                  <a:gd name="T95" fmla="*/ 5357 h 21600"/>
                  <a:gd name="T96" fmla="*/ 9483 w 21600"/>
                  <a:gd name="T97" fmla="*/ 4956 h 21600"/>
                  <a:gd name="T98" fmla="*/ 9659 w 21600"/>
                  <a:gd name="T99" fmla="*/ 3294 h 21600"/>
                  <a:gd name="T100" fmla="*/ 10888 w 21600"/>
                  <a:gd name="T101" fmla="*/ 3237 h 21600"/>
                  <a:gd name="T102" fmla="*/ 11239 w 21600"/>
                  <a:gd name="T103" fmla="*/ 5214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00" h="21600">
                    <a:moveTo>
                      <a:pt x="14049" y="5386"/>
                    </a:moveTo>
                    <a:lnTo>
                      <a:pt x="14049" y="5242"/>
                    </a:lnTo>
                    <a:lnTo>
                      <a:pt x="14049" y="5071"/>
                    </a:lnTo>
                    <a:lnTo>
                      <a:pt x="14049" y="4956"/>
                    </a:lnTo>
                    <a:lnTo>
                      <a:pt x="13873" y="4813"/>
                    </a:lnTo>
                    <a:lnTo>
                      <a:pt x="14049" y="4383"/>
                    </a:lnTo>
                    <a:lnTo>
                      <a:pt x="14049" y="3982"/>
                    </a:lnTo>
                    <a:lnTo>
                      <a:pt x="14049" y="3552"/>
                    </a:lnTo>
                    <a:lnTo>
                      <a:pt x="14049" y="3180"/>
                    </a:lnTo>
                    <a:lnTo>
                      <a:pt x="14400" y="3123"/>
                    </a:lnTo>
                    <a:lnTo>
                      <a:pt x="14751" y="3123"/>
                    </a:lnTo>
                    <a:lnTo>
                      <a:pt x="14927" y="3123"/>
                    </a:lnTo>
                    <a:lnTo>
                      <a:pt x="15454" y="3094"/>
                    </a:lnTo>
                    <a:lnTo>
                      <a:pt x="15980" y="12290"/>
                    </a:lnTo>
                    <a:lnTo>
                      <a:pt x="16332" y="17160"/>
                    </a:lnTo>
                    <a:lnTo>
                      <a:pt x="16332" y="19308"/>
                    </a:lnTo>
                    <a:lnTo>
                      <a:pt x="16332" y="20425"/>
                    </a:lnTo>
                    <a:lnTo>
                      <a:pt x="16156" y="20540"/>
                    </a:lnTo>
                    <a:lnTo>
                      <a:pt x="16156" y="20626"/>
                    </a:lnTo>
                    <a:lnTo>
                      <a:pt x="15980" y="20769"/>
                    </a:lnTo>
                    <a:lnTo>
                      <a:pt x="15980" y="20855"/>
                    </a:lnTo>
                    <a:lnTo>
                      <a:pt x="15629" y="20884"/>
                    </a:lnTo>
                    <a:lnTo>
                      <a:pt x="15454" y="20912"/>
                    </a:lnTo>
                    <a:lnTo>
                      <a:pt x="14927" y="20912"/>
                    </a:lnTo>
                    <a:lnTo>
                      <a:pt x="14576" y="20912"/>
                    </a:lnTo>
                    <a:lnTo>
                      <a:pt x="14400" y="20912"/>
                    </a:lnTo>
                    <a:lnTo>
                      <a:pt x="14400" y="20884"/>
                    </a:lnTo>
                    <a:lnTo>
                      <a:pt x="14224" y="20884"/>
                    </a:lnTo>
                    <a:lnTo>
                      <a:pt x="14049" y="20884"/>
                    </a:lnTo>
                    <a:lnTo>
                      <a:pt x="14224" y="20683"/>
                    </a:lnTo>
                    <a:lnTo>
                      <a:pt x="14400" y="20425"/>
                    </a:lnTo>
                    <a:lnTo>
                      <a:pt x="14576" y="19967"/>
                    </a:lnTo>
                    <a:lnTo>
                      <a:pt x="14751" y="19108"/>
                    </a:lnTo>
                    <a:lnTo>
                      <a:pt x="14751" y="17790"/>
                    </a:lnTo>
                    <a:lnTo>
                      <a:pt x="14751" y="16959"/>
                    </a:lnTo>
                    <a:lnTo>
                      <a:pt x="14576" y="16529"/>
                    </a:lnTo>
                    <a:lnTo>
                      <a:pt x="14576" y="16300"/>
                    </a:lnTo>
                    <a:lnTo>
                      <a:pt x="14576" y="15555"/>
                    </a:lnTo>
                    <a:lnTo>
                      <a:pt x="14576" y="14238"/>
                    </a:lnTo>
                    <a:lnTo>
                      <a:pt x="14400" y="12719"/>
                    </a:lnTo>
                    <a:lnTo>
                      <a:pt x="14224" y="11258"/>
                    </a:lnTo>
                    <a:lnTo>
                      <a:pt x="14049" y="11001"/>
                    </a:lnTo>
                    <a:lnTo>
                      <a:pt x="14049" y="10198"/>
                    </a:lnTo>
                    <a:lnTo>
                      <a:pt x="14049" y="8480"/>
                    </a:lnTo>
                    <a:lnTo>
                      <a:pt x="14049" y="5386"/>
                    </a:lnTo>
                    <a:lnTo>
                      <a:pt x="11239" y="5214"/>
                    </a:lnTo>
                    <a:lnTo>
                      <a:pt x="11766" y="13206"/>
                    </a:lnTo>
                    <a:lnTo>
                      <a:pt x="11941" y="17503"/>
                    </a:lnTo>
                    <a:lnTo>
                      <a:pt x="12117" y="19509"/>
                    </a:lnTo>
                    <a:lnTo>
                      <a:pt x="11941" y="20569"/>
                    </a:lnTo>
                    <a:lnTo>
                      <a:pt x="11941" y="20655"/>
                    </a:lnTo>
                    <a:lnTo>
                      <a:pt x="11766" y="20769"/>
                    </a:lnTo>
                    <a:lnTo>
                      <a:pt x="11766" y="20884"/>
                    </a:lnTo>
                    <a:lnTo>
                      <a:pt x="11590" y="20998"/>
                    </a:lnTo>
                    <a:lnTo>
                      <a:pt x="11415" y="21027"/>
                    </a:lnTo>
                    <a:lnTo>
                      <a:pt x="11239" y="21056"/>
                    </a:lnTo>
                    <a:lnTo>
                      <a:pt x="10712" y="21056"/>
                    </a:lnTo>
                    <a:lnTo>
                      <a:pt x="10185" y="21056"/>
                    </a:lnTo>
                    <a:lnTo>
                      <a:pt x="10010" y="21027"/>
                    </a:lnTo>
                    <a:lnTo>
                      <a:pt x="9659" y="21027"/>
                    </a:lnTo>
                    <a:lnTo>
                      <a:pt x="9483" y="21027"/>
                    </a:lnTo>
                    <a:lnTo>
                      <a:pt x="10010" y="20827"/>
                    </a:lnTo>
                    <a:lnTo>
                      <a:pt x="10185" y="20569"/>
                    </a:lnTo>
                    <a:lnTo>
                      <a:pt x="10361" y="20110"/>
                    </a:lnTo>
                    <a:lnTo>
                      <a:pt x="10537" y="19222"/>
                    </a:lnTo>
                    <a:lnTo>
                      <a:pt x="10537" y="17933"/>
                    </a:lnTo>
                    <a:lnTo>
                      <a:pt x="10361" y="17102"/>
                    </a:lnTo>
                    <a:lnTo>
                      <a:pt x="10361" y="16673"/>
                    </a:lnTo>
                    <a:lnTo>
                      <a:pt x="10185" y="16444"/>
                    </a:lnTo>
                    <a:lnTo>
                      <a:pt x="10361" y="15670"/>
                    </a:lnTo>
                    <a:lnTo>
                      <a:pt x="10361" y="14352"/>
                    </a:lnTo>
                    <a:lnTo>
                      <a:pt x="10185" y="12834"/>
                    </a:lnTo>
                    <a:lnTo>
                      <a:pt x="9659" y="11402"/>
                    </a:lnTo>
                    <a:lnTo>
                      <a:pt x="9659" y="11086"/>
                    </a:lnTo>
                    <a:lnTo>
                      <a:pt x="9659" y="10284"/>
                    </a:lnTo>
                    <a:lnTo>
                      <a:pt x="9483" y="8508"/>
                    </a:lnTo>
                    <a:lnTo>
                      <a:pt x="9483" y="5357"/>
                    </a:lnTo>
                    <a:lnTo>
                      <a:pt x="0" y="5328"/>
                    </a:lnTo>
                    <a:lnTo>
                      <a:pt x="0" y="21600"/>
                    </a:lnTo>
                    <a:lnTo>
                      <a:pt x="2985" y="21600"/>
                    </a:lnTo>
                    <a:lnTo>
                      <a:pt x="6146" y="21543"/>
                    </a:lnTo>
                    <a:lnTo>
                      <a:pt x="8780" y="21514"/>
                    </a:lnTo>
                    <a:lnTo>
                      <a:pt x="11415" y="21485"/>
                    </a:lnTo>
                    <a:lnTo>
                      <a:pt x="13873" y="21457"/>
                    </a:lnTo>
                    <a:lnTo>
                      <a:pt x="15805" y="21428"/>
                    </a:lnTo>
                    <a:lnTo>
                      <a:pt x="17385" y="21342"/>
                    </a:lnTo>
                    <a:lnTo>
                      <a:pt x="18439" y="21314"/>
                    </a:lnTo>
                    <a:lnTo>
                      <a:pt x="18615" y="18879"/>
                    </a:lnTo>
                    <a:lnTo>
                      <a:pt x="18790" y="14180"/>
                    </a:lnTo>
                    <a:lnTo>
                      <a:pt x="18439" y="8680"/>
                    </a:lnTo>
                    <a:lnTo>
                      <a:pt x="17210" y="3638"/>
                    </a:lnTo>
                    <a:lnTo>
                      <a:pt x="17385" y="3380"/>
                    </a:lnTo>
                    <a:lnTo>
                      <a:pt x="18088" y="3094"/>
                    </a:lnTo>
                    <a:lnTo>
                      <a:pt x="18615" y="2836"/>
                    </a:lnTo>
                    <a:lnTo>
                      <a:pt x="18790" y="2636"/>
                    </a:lnTo>
                    <a:lnTo>
                      <a:pt x="18966" y="2349"/>
                    </a:lnTo>
                    <a:lnTo>
                      <a:pt x="19844" y="2034"/>
                    </a:lnTo>
                    <a:lnTo>
                      <a:pt x="20722" y="1747"/>
                    </a:lnTo>
                    <a:lnTo>
                      <a:pt x="21249" y="1461"/>
                    </a:lnTo>
                    <a:lnTo>
                      <a:pt x="21424" y="1260"/>
                    </a:lnTo>
                    <a:lnTo>
                      <a:pt x="21424" y="1060"/>
                    </a:lnTo>
                    <a:lnTo>
                      <a:pt x="21600" y="917"/>
                    </a:lnTo>
                    <a:lnTo>
                      <a:pt x="21600" y="802"/>
                    </a:lnTo>
                    <a:lnTo>
                      <a:pt x="21600" y="716"/>
                    </a:lnTo>
                    <a:lnTo>
                      <a:pt x="21600" y="516"/>
                    </a:lnTo>
                    <a:lnTo>
                      <a:pt x="21249" y="372"/>
                    </a:lnTo>
                    <a:lnTo>
                      <a:pt x="21073" y="229"/>
                    </a:lnTo>
                    <a:lnTo>
                      <a:pt x="20898" y="57"/>
                    </a:lnTo>
                    <a:lnTo>
                      <a:pt x="17385" y="86"/>
                    </a:lnTo>
                    <a:lnTo>
                      <a:pt x="14400" y="86"/>
                    </a:lnTo>
                    <a:lnTo>
                      <a:pt x="11590" y="86"/>
                    </a:lnTo>
                    <a:lnTo>
                      <a:pt x="8956" y="86"/>
                    </a:lnTo>
                    <a:lnTo>
                      <a:pt x="6498" y="57"/>
                    </a:lnTo>
                    <a:lnTo>
                      <a:pt x="4215" y="57"/>
                    </a:lnTo>
                    <a:lnTo>
                      <a:pt x="2107" y="29"/>
                    </a:lnTo>
                    <a:lnTo>
                      <a:pt x="0" y="0"/>
                    </a:lnTo>
                    <a:lnTo>
                      <a:pt x="0" y="258"/>
                    </a:lnTo>
                    <a:lnTo>
                      <a:pt x="2459" y="258"/>
                    </a:lnTo>
                    <a:lnTo>
                      <a:pt x="4917" y="258"/>
                    </a:lnTo>
                    <a:lnTo>
                      <a:pt x="7376" y="258"/>
                    </a:lnTo>
                    <a:lnTo>
                      <a:pt x="9659" y="258"/>
                    </a:lnTo>
                    <a:lnTo>
                      <a:pt x="12117" y="286"/>
                    </a:lnTo>
                    <a:lnTo>
                      <a:pt x="14576" y="286"/>
                    </a:lnTo>
                    <a:lnTo>
                      <a:pt x="17034" y="286"/>
                    </a:lnTo>
                    <a:lnTo>
                      <a:pt x="19493" y="286"/>
                    </a:lnTo>
                    <a:lnTo>
                      <a:pt x="19668" y="516"/>
                    </a:lnTo>
                    <a:lnTo>
                      <a:pt x="19844" y="802"/>
                    </a:lnTo>
                    <a:lnTo>
                      <a:pt x="20020" y="1031"/>
                    </a:lnTo>
                    <a:lnTo>
                      <a:pt x="20195" y="1289"/>
                    </a:lnTo>
                    <a:lnTo>
                      <a:pt x="17561" y="1289"/>
                    </a:lnTo>
                    <a:lnTo>
                      <a:pt x="15278" y="1289"/>
                    </a:lnTo>
                    <a:lnTo>
                      <a:pt x="12644" y="1289"/>
                    </a:lnTo>
                    <a:lnTo>
                      <a:pt x="10185" y="1289"/>
                    </a:lnTo>
                    <a:lnTo>
                      <a:pt x="7551" y="1289"/>
                    </a:lnTo>
                    <a:lnTo>
                      <a:pt x="5093" y="1289"/>
                    </a:lnTo>
                    <a:lnTo>
                      <a:pt x="2459" y="1289"/>
                    </a:lnTo>
                    <a:lnTo>
                      <a:pt x="0" y="1289"/>
                    </a:lnTo>
                    <a:lnTo>
                      <a:pt x="0" y="1977"/>
                    </a:lnTo>
                    <a:lnTo>
                      <a:pt x="11415" y="2005"/>
                    </a:lnTo>
                    <a:lnTo>
                      <a:pt x="11766" y="1891"/>
                    </a:lnTo>
                    <a:lnTo>
                      <a:pt x="12644" y="1747"/>
                    </a:lnTo>
                    <a:lnTo>
                      <a:pt x="13346" y="1662"/>
                    </a:lnTo>
                    <a:lnTo>
                      <a:pt x="14400" y="1518"/>
                    </a:lnTo>
                    <a:lnTo>
                      <a:pt x="15805" y="1518"/>
                    </a:lnTo>
                    <a:lnTo>
                      <a:pt x="17210" y="1518"/>
                    </a:lnTo>
                    <a:lnTo>
                      <a:pt x="18439" y="1518"/>
                    </a:lnTo>
                    <a:lnTo>
                      <a:pt x="19844" y="1518"/>
                    </a:lnTo>
                    <a:lnTo>
                      <a:pt x="18615" y="1747"/>
                    </a:lnTo>
                    <a:lnTo>
                      <a:pt x="17561" y="2005"/>
                    </a:lnTo>
                    <a:lnTo>
                      <a:pt x="17034" y="2234"/>
                    </a:lnTo>
                    <a:lnTo>
                      <a:pt x="16859" y="2521"/>
                    </a:lnTo>
                    <a:lnTo>
                      <a:pt x="15980" y="2521"/>
                    </a:lnTo>
                    <a:lnTo>
                      <a:pt x="15454" y="2521"/>
                    </a:lnTo>
                    <a:lnTo>
                      <a:pt x="14576" y="2521"/>
                    </a:lnTo>
                    <a:lnTo>
                      <a:pt x="13873" y="2521"/>
                    </a:lnTo>
                    <a:lnTo>
                      <a:pt x="12995" y="2521"/>
                    </a:lnTo>
                    <a:lnTo>
                      <a:pt x="12293" y="2521"/>
                    </a:lnTo>
                    <a:lnTo>
                      <a:pt x="11590" y="2521"/>
                    </a:lnTo>
                    <a:lnTo>
                      <a:pt x="10712" y="2521"/>
                    </a:lnTo>
                    <a:lnTo>
                      <a:pt x="10712" y="2378"/>
                    </a:lnTo>
                    <a:lnTo>
                      <a:pt x="10712" y="2234"/>
                    </a:lnTo>
                    <a:lnTo>
                      <a:pt x="10888" y="2149"/>
                    </a:lnTo>
                    <a:lnTo>
                      <a:pt x="11415" y="2005"/>
                    </a:lnTo>
                    <a:lnTo>
                      <a:pt x="0" y="1977"/>
                    </a:lnTo>
                    <a:lnTo>
                      <a:pt x="0" y="2779"/>
                    </a:lnTo>
                    <a:lnTo>
                      <a:pt x="2459" y="2779"/>
                    </a:lnTo>
                    <a:lnTo>
                      <a:pt x="4917" y="2779"/>
                    </a:lnTo>
                    <a:lnTo>
                      <a:pt x="7376" y="2779"/>
                    </a:lnTo>
                    <a:lnTo>
                      <a:pt x="9483" y="2779"/>
                    </a:lnTo>
                    <a:lnTo>
                      <a:pt x="11590" y="2779"/>
                    </a:lnTo>
                    <a:lnTo>
                      <a:pt x="13522" y="2779"/>
                    </a:lnTo>
                    <a:lnTo>
                      <a:pt x="15278" y="2807"/>
                    </a:lnTo>
                    <a:lnTo>
                      <a:pt x="16683" y="2807"/>
                    </a:lnTo>
                    <a:lnTo>
                      <a:pt x="16683" y="2865"/>
                    </a:lnTo>
                    <a:lnTo>
                      <a:pt x="16683" y="2951"/>
                    </a:lnTo>
                    <a:lnTo>
                      <a:pt x="16683" y="3008"/>
                    </a:lnTo>
                    <a:lnTo>
                      <a:pt x="16332" y="3065"/>
                    </a:lnTo>
                    <a:lnTo>
                      <a:pt x="15805" y="3065"/>
                    </a:lnTo>
                    <a:lnTo>
                      <a:pt x="14927" y="3094"/>
                    </a:lnTo>
                    <a:lnTo>
                      <a:pt x="14400" y="3094"/>
                    </a:lnTo>
                    <a:lnTo>
                      <a:pt x="13522" y="3123"/>
                    </a:lnTo>
                    <a:lnTo>
                      <a:pt x="11239" y="3123"/>
                    </a:lnTo>
                    <a:lnTo>
                      <a:pt x="8956" y="3094"/>
                    </a:lnTo>
                    <a:lnTo>
                      <a:pt x="7200" y="3094"/>
                    </a:lnTo>
                    <a:lnTo>
                      <a:pt x="5444" y="3094"/>
                    </a:lnTo>
                    <a:lnTo>
                      <a:pt x="3863" y="3065"/>
                    </a:lnTo>
                    <a:lnTo>
                      <a:pt x="2459" y="3065"/>
                    </a:lnTo>
                    <a:lnTo>
                      <a:pt x="1229" y="3065"/>
                    </a:lnTo>
                    <a:lnTo>
                      <a:pt x="0" y="3065"/>
                    </a:lnTo>
                    <a:lnTo>
                      <a:pt x="0" y="5328"/>
                    </a:lnTo>
                    <a:lnTo>
                      <a:pt x="9483" y="5357"/>
                    </a:lnTo>
                    <a:lnTo>
                      <a:pt x="9483" y="5242"/>
                    </a:lnTo>
                    <a:lnTo>
                      <a:pt x="9483" y="5156"/>
                    </a:lnTo>
                    <a:lnTo>
                      <a:pt x="9483" y="5042"/>
                    </a:lnTo>
                    <a:lnTo>
                      <a:pt x="9483" y="4956"/>
                    </a:lnTo>
                    <a:lnTo>
                      <a:pt x="9483" y="4526"/>
                    </a:lnTo>
                    <a:lnTo>
                      <a:pt x="9659" y="4125"/>
                    </a:lnTo>
                    <a:lnTo>
                      <a:pt x="9659" y="3695"/>
                    </a:lnTo>
                    <a:lnTo>
                      <a:pt x="9659" y="3294"/>
                    </a:lnTo>
                    <a:lnTo>
                      <a:pt x="10185" y="3266"/>
                    </a:lnTo>
                    <a:lnTo>
                      <a:pt x="10361" y="3266"/>
                    </a:lnTo>
                    <a:lnTo>
                      <a:pt x="10712" y="3266"/>
                    </a:lnTo>
                    <a:lnTo>
                      <a:pt x="10888" y="3237"/>
                    </a:lnTo>
                    <a:lnTo>
                      <a:pt x="11239" y="3753"/>
                    </a:lnTo>
                    <a:lnTo>
                      <a:pt x="11239" y="4268"/>
                    </a:lnTo>
                    <a:lnTo>
                      <a:pt x="11239" y="4727"/>
                    </a:lnTo>
                    <a:lnTo>
                      <a:pt x="11239" y="5214"/>
                    </a:lnTo>
                    <a:lnTo>
                      <a:pt x="14049" y="5386"/>
                    </a:lnTo>
                    <a:close/>
                    <a:moveTo>
                      <a:pt x="14049" y="5386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61" name="Freeform 51"/>
              <p:cNvSpPr>
                <a:spLocks/>
              </p:cNvSpPr>
              <p:nvPr/>
            </p:nvSpPr>
            <p:spPr bwMode="gray">
              <a:xfrm>
                <a:off x="137" y="71"/>
                <a:ext cx="12" cy="10"/>
              </a:xfrm>
              <a:custGeom>
                <a:avLst/>
                <a:gdLst>
                  <a:gd name="T0" fmla="*/ 372 w 21600"/>
                  <a:gd name="T1" fmla="*/ 1925 h 21600"/>
                  <a:gd name="T2" fmla="*/ 0 w 21600"/>
                  <a:gd name="T3" fmla="*/ 4919 h 21600"/>
                  <a:gd name="T4" fmla="*/ 2421 w 21600"/>
                  <a:gd name="T5" fmla="*/ 6630 h 21600"/>
                  <a:gd name="T6" fmla="*/ 2421 w 21600"/>
                  <a:gd name="T7" fmla="*/ 8127 h 21600"/>
                  <a:gd name="T8" fmla="*/ 2048 w 21600"/>
                  <a:gd name="T9" fmla="*/ 9624 h 21600"/>
                  <a:gd name="T10" fmla="*/ 7076 w 21600"/>
                  <a:gd name="T11" fmla="*/ 9624 h 21600"/>
                  <a:gd name="T12" fmla="*/ 11917 w 21600"/>
                  <a:gd name="T13" fmla="*/ 9624 h 21600"/>
                  <a:gd name="T14" fmla="*/ 16759 w 21600"/>
                  <a:gd name="T15" fmla="*/ 9624 h 21600"/>
                  <a:gd name="T16" fmla="*/ 21600 w 21600"/>
                  <a:gd name="T17" fmla="*/ 9624 h 21600"/>
                  <a:gd name="T18" fmla="*/ 2793 w 21600"/>
                  <a:gd name="T19" fmla="*/ 14329 h 21600"/>
                  <a:gd name="T20" fmla="*/ 5214 w 21600"/>
                  <a:gd name="T21" fmla="*/ 17109 h 21600"/>
                  <a:gd name="T22" fmla="*/ 6703 w 21600"/>
                  <a:gd name="T23" fmla="*/ 20103 h 21600"/>
                  <a:gd name="T24" fmla="*/ 6703 w 21600"/>
                  <a:gd name="T25" fmla="*/ 20958 h 21600"/>
                  <a:gd name="T26" fmla="*/ 6703 w 21600"/>
                  <a:gd name="T27" fmla="*/ 21600 h 21600"/>
                  <a:gd name="T28" fmla="*/ 8193 w 21600"/>
                  <a:gd name="T29" fmla="*/ 21386 h 21600"/>
                  <a:gd name="T30" fmla="*/ 7821 w 21600"/>
                  <a:gd name="T31" fmla="*/ 20958 h 21600"/>
                  <a:gd name="T32" fmla="*/ 8752 w 21600"/>
                  <a:gd name="T33" fmla="*/ 20745 h 21600"/>
                  <a:gd name="T34" fmla="*/ 11359 w 21600"/>
                  <a:gd name="T35" fmla="*/ 20745 h 21600"/>
                  <a:gd name="T36" fmla="*/ 14897 w 21600"/>
                  <a:gd name="T37" fmla="*/ 20745 h 21600"/>
                  <a:gd name="T38" fmla="*/ 19366 w 21600"/>
                  <a:gd name="T39" fmla="*/ 20745 h 21600"/>
                  <a:gd name="T40" fmla="*/ 21600 w 21600"/>
                  <a:gd name="T41" fmla="*/ 14756 h 21600"/>
                  <a:gd name="T42" fmla="*/ 2048 w 21600"/>
                  <a:gd name="T43" fmla="*/ 13259 h 21600"/>
                  <a:gd name="T44" fmla="*/ 745 w 21600"/>
                  <a:gd name="T45" fmla="*/ 11549 h 21600"/>
                  <a:gd name="T46" fmla="*/ 372 w 21600"/>
                  <a:gd name="T47" fmla="*/ 9624 h 21600"/>
                  <a:gd name="T48" fmla="*/ 186 w 21600"/>
                  <a:gd name="T49" fmla="*/ 7699 h 21600"/>
                  <a:gd name="T50" fmla="*/ 2421 w 21600"/>
                  <a:gd name="T51" fmla="*/ 6630 h 21600"/>
                  <a:gd name="T52" fmla="*/ 2607 w 21600"/>
                  <a:gd name="T53" fmla="*/ 4277 h 21600"/>
                  <a:gd name="T54" fmla="*/ 2607 w 21600"/>
                  <a:gd name="T55" fmla="*/ 1925 h 21600"/>
                  <a:gd name="T56" fmla="*/ 7262 w 21600"/>
                  <a:gd name="T57" fmla="*/ 1925 h 21600"/>
                  <a:gd name="T58" fmla="*/ 12290 w 21600"/>
                  <a:gd name="T59" fmla="*/ 1925 h 21600"/>
                  <a:gd name="T60" fmla="*/ 16945 w 21600"/>
                  <a:gd name="T61" fmla="*/ 1925 h 21600"/>
                  <a:gd name="T62" fmla="*/ 21600 w 21600"/>
                  <a:gd name="T63" fmla="*/ 1925 h 21600"/>
                  <a:gd name="T64" fmla="*/ 1117 w 21600"/>
                  <a:gd name="T65" fmla="*/ 42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600" h="21600">
                    <a:moveTo>
                      <a:pt x="1117" y="428"/>
                    </a:moveTo>
                    <a:lnTo>
                      <a:pt x="372" y="1925"/>
                    </a:lnTo>
                    <a:lnTo>
                      <a:pt x="186" y="3422"/>
                    </a:lnTo>
                    <a:lnTo>
                      <a:pt x="0" y="4919"/>
                    </a:lnTo>
                    <a:lnTo>
                      <a:pt x="0" y="6630"/>
                    </a:lnTo>
                    <a:lnTo>
                      <a:pt x="2421" y="6630"/>
                    </a:lnTo>
                    <a:lnTo>
                      <a:pt x="2421" y="7485"/>
                    </a:lnTo>
                    <a:lnTo>
                      <a:pt x="2421" y="8127"/>
                    </a:lnTo>
                    <a:lnTo>
                      <a:pt x="2421" y="8768"/>
                    </a:lnTo>
                    <a:lnTo>
                      <a:pt x="2048" y="9624"/>
                    </a:lnTo>
                    <a:lnTo>
                      <a:pt x="4655" y="9624"/>
                    </a:lnTo>
                    <a:lnTo>
                      <a:pt x="7076" y="9624"/>
                    </a:lnTo>
                    <a:lnTo>
                      <a:pt x="9683" y="9624"/>
                    </a:lnTo>
                    <a:lnTo>
                      <a:pt x="11917" y="9624"/>
                    </a:lnTo>
                    <a:lnTo>
                      <a:pt x="14338" y="9624"/>
                    </a:lnTo>
                    <a:lnTo>
                      <a:pt x="16759" y="9624"/>
                    </a:lnTo>
                    <a:lnTo>
                      <a:pt x="19366" y="9624"/>
                    </a:lnTo>
                    <a:lnTo>
                      <a:pt x="21600" y="9624"/>
                    </a:lnTo>
                    <a:lnTo>
                      <a:pt x="21600" y="14756"/>
                    </a:lnTo>
                    <a:lnTo>
                      <a:pt x="2793" y="14329"/>
                    </a:lnTo>
                    <a:lnTo>
                      <a:pt x="4097" y="15612"/>
                    </a:lnTo>
                    <a:lnTo>
                      <a:pt x="5214" y="17109"/>
                    </a:lnTo>
                    <a:lnTo>
                      <a:pt x="5959" y="18392"/>
                    </a:lnTo>
                    <a:lnTo>
                      <a:pt x="6703" y="20103"/>
                    </a:lnTo>
                    <a:lnTo>
                      <a:pt x="6703" y="20531"/>
                    </a:lnTo>
                    <a:lnTo>
                      <a:pt x="6703" y="20958"/>
                    </a:lnTo>
                    <a:lnTo>
                      <a:pt x="6703" y="21172"/>
                    </a:lnTo>
                    <a:lnTo>
                      <a:pt x="6703" y="21600"/>
                    </a:lnTo>
                    <a:lnTo>
                      <a:pt x="8193" y="21600"/>
                    </a:lnTo>
                    <a:lnTo>
                      <a:pt x="8193" y="21386"/>
                    </a:lnTo>
                    <a:lnTo>
                      <a:pt x="8193" y="21172"/>
                    </a:lnTo>
                    <a:lnTo>
                      <a:pt x="7821" y="20958"/>
                    </a:lnTo>
                    <a:lnTo>
                      <a:pt x="7821" y="20745"/>
                    </a:lnTo>
                    <a:lnTo>
                      <a:pt x="8752" y="20745"/>
                    </a:lnTo>
                    <a:lnTo>
                      <a:pt x="9869" y="20745"/>
                    </a:lnTo>
                    <a:lnTo>
                      <a:pt x="11359" y="20745"/>
                    </a:lnTo>
                    <a:lnTo>
                      <a:pt x="13034" y="20745"/>
                    </a:lnTo>
                    <a:lnTo>
                      <a:pt x="14897" y="20745"/>
                    </a:lnTo>
                    <a:lnTo>
                      <a:pt x="17131" y="20745"/>
                    </a:lnTo>
                    <a:lnTo>
                      <a:pt x="19366" y="20745"/>
                    </a:lnTo>
                    <a:lnTo>
                      <a:pt x="21600" y="20745"/>
                    </a:lnTo>
                    <a:lnTo>
                      <a:pt x="21600" y="14756"/>
                    </a:lnTo>
                    <a:lnTo>
                      <a:pt x="2793" y="14329"/>
                    </a:lnTo>
                    <a:lnTo>
                      <a:pt x="2048" y="13259"/>
                    </a:lnTo>
                    <a:lnTo>
                      <a:pt x="1490" y="12618"/>
                    </a:lnTo>
                    <a:lnTo>
                      <a:pt x="745" y="11549"/>
                    </a:lnTo>
                    <a:lnTo>
                      <a:pt x="372" y="10693"/>
                    </a:lnTo>
                    <a:lnTo>
                      <a:pt x="372" y="9624"/>
                    </a:lnTo>
                    <a:lnTo>
                      <a:pt x="186" y="8554"/>
                    </a:lnTo>
                    <a:lnTo>
                      <a:pt x="186" y="7699"/>
                    </a:lnTo>
                    <a:lnTo>
                      <a:pt x="0" y="6630"/>
                    </a:lnTo>
                    <a:lnTo>
                      <a:pt x="2421" y="6630"/>
                    </a:lnTo>
                    <a:lnTo>
                      <a:pt x="2607" y="5347"/>
                    </a:lnTo>
                    <a:lnTo>
                      <a:pt x="2607" y="4277"/>
                    </a:lnTo>
                    <a:lnTo>
                      <a:pt x="2607" y="3208"/>
                    </a:lnTo>
                    <a:lnTo>
                      <a:pt x="2607" y="1925"/>
                    </a:lnTo>
                    <a:lnTo>
                      <a:pt x="4841" y="1925"/>
                    </a:lnTo>
                    <a:lnTo>
                      <a:pt x="7262" y="1925"/>
                    </a:lnTo>
                    <a:lnTo>
                      <a:pt x="9683" y="1925"/>
                    </a:lnTo>
                    <a:lnTo>
                      <a:pt x="12290" y="1925"/>
                    </a:lnTo>
                    <a:lnTo>
                      <a:pt x="14524" y="1925"/>
                    </a:lnTo>
                    <a:lnTo>
                      <a:pt x="16945" y="1925"/>
                    </a:lnTo>
                    <a:lnTo>
                      <a:pt x="19366" y="1925"/>
                    </a:lnTo>
                    <a:lnTo>
                      <a:pt x="21600" y="1925"/>
                    </a:lnTo>
                    <a:lnTo>
                      <a:pt x="21600" y="0"/>
                    </a:lnTo>
                    <a:lnTo>
                      <a:pt x="1117" y="428"/>
                    </a:lnTo>
                    <a:close/>
                    <a:moveTo>
                      <a:pt x="1117" y="42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62" name="Freeform 52"/>
              <p:cNvSpPr>
                <a:spLocks/>
              </p:cNvSpPr>
              <p:nvPr/>
            </p:nvSpPr>
            <p:spPr bwMode="gray">
              <a:xfrm>
                <a:off x="138" y="81"/>
                <a:ext cx="11" cy="68"/>
              </a:xfrm>
              <a:custGeom>
                <a:avLst/>
                <a:gdLst>
                  <a:gd name="T0" fmla="*/ 21600 w 21600"/>
                  <a:gd name="T1" fmla="*/ 2812 h 21600"/>
                  <a:gd name="T2" fmla="*/ 7340 w 21600"/>
                  <a:gd name="T3" fmla="*/ 2183 h 21600"/>
                  <a:gd name="T4" fmla="*/ 7340 w 21600"/>
                  <a:gd name="T5" fmla="*/ 1092 h 21600"/>
                  <a:gd name="T6" fmla="*/ 7130 w 21600"/>
                  <a:gd name="T7" fmla="*/ 496 h 21600"/>
                  <a:gd name="T8" fmla="*/ 6501 w 21600"/>
                  <a:gd name="T9" fmla="*/ 496 h 21600"/>
                  <a:gd name="T10" fmla="*/ 5872 w 21600"/>
                  <a:gd name="T11" fmla="*/ 959 h 21600"/>
                  <a:gd name="T12" fmla="*/ 5662 w 21600"/>
                  <a:gd name="T13" fmla="*/ 1952 h 21600"/>
                  <a:gd name="T14" fmla="*/ 5243 w 21600"/>
                  <a:gd name="T15" fmla="*/ 3936 h 21600"/>
                  <a:gd name="T16" fmla="*/ 4194 w 21600"/>
                  <a:gd name="T17" fmla="*/ 8170 h 21600"/>
                  <a:gd name="T18" fmla="*/ 3775 w 21600"/>
                  <a:gd name="T19" fmla="*/ 12107 h 21600"/>
                  <a:gd name="T20" fmla="*/ 3355 w 21600"/>
                  <a:gd name="T21" fmla="*/ 13760 h 21600"/>
                  <a:gd name="T22" fmla="*/ 2726 w 21600"/>
                  <a:gd name="T23" fmla="*/ 16241 h 21600"/>
                  <a:gd name="T24" fmla="*/ 2307 w 21600"/>
                  <a:gd name="T25" fmla="*/ 18491 h 21600"/>
                  <a:gd name="T26" fmla="*/ 2307 w 21600"/>
                  <a:gd name="T27" fmla="*/ 21104 h 21600"/>
                  <a:gd name="T28" fmla="*/ 3565 w 21600"/>
                  <a:gd name="T29" fmla="*/ 21038 h 21600"/>
                  <a:gd name="T30" fmla="*/ 4194 w 21600"/>
                  <a:gd name="T31" fmla="*/ 20674 h 21600"/>
                  <a:gd name="T32" fmla="*/ 4404 w 21600"/>
                  <a:gd name="T33" fmla="*/ 19979 h 21600"/>
                  <a:gd name="T34" fmla="*/ 5662 w 21600"/>
                  <a:gd name="T35" fmla="*/ 13959 h 21600"/>
                  <a:gd name="T36" fmla="*/ 6920 w 21600"/>
                  <a:gd name="T37" fmla="*/ 6913 h 21600"/>
                  <a:gd name="T38" fmla="*/ 7340 w 21600"/>
                  <a:gd name="T39" fmla="*/ 4862 h 21600"/>
                  <a:gd name="T40" fmla="*/ 7340 w 21600"/>
                  <a:gd name="T41" fmla="*/ 3506 h 21600"/>
                  <a:gd name="T42" fmla="*/ 21600 w 21600"/>
                  <a:gd name="T43" fmla="*/ 2812 h 21600"/>
                  <a:gd name="T44" fmla="*/ 16986 w 21600"/>
                  <a:gd name="T45" fmla="*/ 21600 h 21600"/>
                  <a:gd name="T46" fmla="*/ 8808 w 21600"/>
                  <a:gd name="T47" fmla="*/ 21534 h 21600"/>
                  <a:gd name="T48" fmla="*/ 2726 w 21600"/>
                  <a:gd name="T49" fmla="*/ 21435 h 21600"/>
                  <a:gd name="T50" fmla="*/ 0 w 21600"/>
                  <a:gd name="T51" fmla="*/ 21203 h 21600"/>
                  <a:gd name="T52" fmla="*/ 839 w 21600"/>
                  <a:gd name="T53" fmla="*/ 18160 h 21600"/>
                  <a:gd name="T54" fmla="*/ 2307 w 21600"/>
                  <a:gd name="T55" fmla="*/ 11379 h 21600"/>
                  <a:gd name="T56" fmla="*/ 3355 w 21600"/>
                  <a:gd name="T57" fmla="*/ 8137 h 21600"/>
                  <a:gd name="T58" fmla="*/ 3984 w 21600"/>
                  <a:gd name="T59" fmla="*/ 4565 h 21600"/>
                  <a:gd name="T60" fmla="*/ 5452 w 21600"/>
                  <a:gd name="T61" fmla="*/ 2712 h 21600"/>
                  <a:gd name="T62" fmla="*/ 4194 w 21600"/>
                  <a:gd name="T63" fmla="*/ 2084 h 21600"/>
                  <a:gd name="T64" fmla="*/ 4404 w 21600"/>
                  <a:gd name="T65" fmla="*/ 695 h 21600"/>
                  <a:gd name="T66" fmla="*/ 6501 w 21600"/>
                  <a:gd name="T67" fmla="*/ 0 h 21600"/>
                  <a:gd name="T68" fmla="*/ 6711 w 21600"/>
                  <a:gd name="T69" fmla="*/ 132 h 21600"/>
                  <a:gd name="T70" fmla="*/ 6711 w 21600"/>
                  <a:gd name="T71" fmla="*/ 232 h 21600"/>
                  <a:gd name="T72" fmla="*/ 11534 w 21600"/>
                  <a:gd name="T73" fmla="*/ 198 h 21600"/>
                  <a:gd name="T74" fmla="*/ 15309 w 21600"/>
                  <a:gd name="T75" fmla="*/ 198 h 21600"/>
                  <a:gd name="T76" fmla="*/ 18454 w 21600"/>
                  <a:gd name="T77" fmla="*/ 198 h 21600"/>
                  <a:gd name="T78" fmla="*/ 21600 w 21600"/>
                  <a:gd name="T79" fmla="*/ 19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1600" h="21600">
                    <a:moveTo>
                      <a:pt x="21600" y="198"/>
                    </a:moveTo>
                    <a:lnTo>
                      <a:pt x="21600" y="2812"/>
                    </a:lnTo>
                    <a:lnTo>
                      <a:pt x="7340" y="2745"/>
                    </a:lnTo>
                    <a:lnTo>
                      <a:pt x="7340" y="2183"/>
                    </a:lnTo>
                    <a:lnTo>
                      <a:pt x="7340" y="1621"/>
                    </a:lnTo>
                    <a:lnTo>
                      <a:pt x="7340" y="1092"/>
                    </a:lnTo>
                    <a:lnTo>
                      <a:pt x="7340" y="496"/>
                    </a:lnTo>
                    <a:lnTo>
                      <a:pt x="7130" y="496"/>
                    </a:lnTo>
                    <a:lnTo>
                      <a:pt x="6711" y="496"/>
                    </a:lnTo>
                    <a:lnTo>
                      <a:pt x="6501" y="496"/>
                    </a:lnTo>
                    <a:lnTo>
                      <a:pt x="6082" y="562"/>
                    </a:lnTo>
                    <a:lnTo>
                      <a:pt x="5872" y="959"/>
                    </a:lnTo>
                    <a:lnTo>
                      <a:pt x="5872" y="1389"/>
                    </a:lnTo>
                    <a:lnTo>
                      <a:pt x="5662" y="1952"/>
                    </a:lnTo>
                    <a:lnTo>
                      <a:pt x="5452" y="2712"/>
                    </a:lnTo>
                    <a:lnTo>
                      <a:pt x="5243" y="3936"/>
                    </a:lnTo>
                    <a:lnTo>
                      <a:pt x="5033" y="5689"/>
                    </a:lnTo>
                    <a:lnTo>
                      <a:pt x="4194" y="8170"/>
                    </a:lnTo>
                    <a:lnTo>
                      <a:pt x="3565" y="11445"/>
                    </a:lnTo>
                    <a:lnTo>
                      <a:pt x="3775" y="12107"/>
                    </a:lnTo>
                    <a:lnTo>
                      <a:pt x="3565" y="12735"/>
                    </a:lnTo>
                    <a:lnTo>
                      <a:pt x="3355" y="13760"/>
                    </a:lnTo>
                    <a:lnTo>
                      <a:pt x="2517" y="15613"/>
                    </a:lnTo>
                    <a:lnTo>
                      <a:pt x="2726" y="16241"/>
                    </a:lnTo>
                    <a:lnTo>
                      <a:pt x="2517" y="17035"/>
                    </a:lnTo>
                    <a:lnTo>
                      <a:pt x="2307" y="18491"/>
                    </a:lnTo>
                    <a:lnTo>
                      <a:pt x="1887" y="21137"/>
                    </a:lnTo>
                    <a:lnTo>
                      <a:pt x="2307" y="21104"/>
                    </a:lnTo>
                    <a:lnTo>
                      <a:pt x="3146" y="21038"/>
                    </a:lnTo>
                    <a:lnTo>
                      <a:pt x="3565" y="21038"/>
                    </a:lnTo>
                    <a:lnTo>
                      <a:pt x="4194" y="21005"/>
                    </a:lnTo>
                    <a:lnTo>
                      <a:pt x="4194" y="20674"/>
                    </a:lnTo>
                    <a:lnTo>
                      <a:pt x="4404" y="20343"/>
                    </a:lnTo>
                    <a:lnTo>
                      <a:pt x="4404" y="19979"/>
                    </a:lnTo>
                    <a:lnTo>
                      <a:pt x="4823" y="19648"/>
                    </a:lnTo>
                    <a:lnTo>
                      <a:pt x="5662" y="13959"/>
                    </a:lnTo>
                    <a:lnTo>
                      <a:pt x="6501" y="9758"/>
                    </a:lnTo>
                    <a:lnTo>
                      <a:pt x="6920" y="6913"/>
                    </a:lnTo>
                    <a:lnTo>
                      <a:pt x="7340" y="5326"/>
                    </a:lnTo>
                    <a:lnTo>
                      <a:pt x="7340" y="4862"/>
                    </a:lnTo>
                    <a:lnTo>
                      <a:pt x="7340" y="4234"/>
                    </a:lnTo>
                    <a:lnTo>
                      <a:pt x="7340" y="3506"/>
                    </a:lnTo>
                    <a:lnTo>
                      <a:pt x="7340" y="2745"/>
                    </a:lnTo>
                    <a:lnTo>
                      <a:pt x="21600" y="2812"/>
                    </a:lnTo>
                    <a:lnTo>
                      <a:pt x="21600" y="21600"/>
                    </a:lnTo>
                    <a:lnTo>
                      <a:pt x="16986" y="21600"/>
                    </a:lnTo>
                    <a:lnTo>
                      <a:pt x="13002" y="21600"/>
                    </a:lnTo>
                    <a:lnTo>
                      <a:pt x="8808" y="21534"/>
                    </a:lnTo>
                    <a:lnTo>
                      <a:pt x="5452" y="21501"/>
                    </a:lnTo>
                    <a:lnTo>
                      <a:pt x="2726" y="21435"/>
                    </a:lnTo>
                    <a:lnTo>
                      <a:pt x="839" y="21302"/>
                    </a:lnTo>
                    <a:lnTo>
                      <a:pt x="0" y="21203"/>
                    </a:lnTo>
                    <a:lnTo>
                      <a:pt x="210" y="21038"/>
                    </a:lnTo>
                    <a:lnTo>
                      <a:pt x="839" y="18160"/>
                    </a:lnTo>
                    <a:lnTo>
                      <a:pt x="1887" y="14488"/>
                    </a:lnTo>
                    <a:lnTo>
                      <a:pt x="2307" y="11379"/>
                    </a:lnTo>
                    <a:lnTo>
                      <a:pt x="2726" y="9957"/>
                    </a:lnTo>
                    <a:lnTo>
                      <a:pt x="3355" y="8137"/>
                    </a:lnTo>
                    <a:lnTo>
                      <a:pt x="3565" y="6351"/>
                    </a:lnTo>
                    <a:lnTo>
                      <a:pt x="3984" y="4565"/>
                    </a:lnTo>
                    <a:lnTo>
                      <a:pt x="4194" y="2712"/>
                    </a:lnTo>
                    <a:lnTo>
                      <a:pt x="5452" y="2712"/>
                    </a:lnTo>
                    <a:lnTo>
                      <a:pt x="4194" y="2712"/>
                    </a:lnTo>
                    <a:lnTo>
                      <a:pt x="4194" y="2084"/>
                    </a:lnTo>
                    <a:lnTo>
                      <a:pt x="4404" y="1389"/>
                    </a:lnTo>
                    <a:lnTo>
                      <a:pt x="4404" y="695"/>
                    </a:lnTo>
                    <a:lnTo>
                      <a:pt x="4823" y="0"/>
                    </a:lnTo>
                    <a:lnTo>
                      <a:pt x="6501" y="0"/>
                    </a:lnTo>
                    <a:lnTo>
                      <a:pt x="6501" y="66"/>
                    </a:lnTo>
                    <a:lnTo>
                      <a:pt x="6711" y="132"/>
                    </a:lnTo>
                    <a:lnTo>
                      <a:pt x="6711" y="165"/>
                    </a:lnTo>
                    <a:lnTo>
                      <a:pt x="6711" y="232"/>
                    </a:lnTo>
                    <a:lnTo>
                      <a:pt x="9227" y="232"/>
                    </a:lnTo>
                    <a:lnTo>
                      <a:pt x="11534" y="198"/>
                    </a:lnTo>
                    <a:lnTo>
                      <a:pt x="13421" y="198"/>
                    </a:lnTo>
                    <a:lnTo>
                      <a:pt x="15309" y="198"/>
                    </a:lnTo>
                    <a:lnTo>
                      <a:pt x="16986" y="198"/>
                    </a:lnTo>
                    <a:lnTo>
                      <a:pt x="18454" y="198"/>
                    </a:lnTo>
                    <a:lnTo>
                      <a:pt x="20132" y="198"/>
                    </a:lnTo>
                    <a:lnTo>
                      <a:pt x="21600" y="198"/>
                    </a:lnTo>
                    <a:close/>
                    <a:moveTo>
                      <a:pt x="21600" y="19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63" name="Freeform 53"/>
              <p:cNvSpPr>
                <a:spLocks/>
              </p:cNvSpPr>
              <p:nvPr/>
            </p:nvSpPr>
            <p:spPr bwMode="gray">
              <a:xfrm>
                <a:off x="189" y="71"/>
                <a:ext cx="13" cy="78"/>
              </a:xfrm>
              <a:custGeom>
                <a:avLst/>
                <a:gdLst>
                  <a:gd name="T0" fmla="*/ 14164 w 21600"/>
                  <a:gd name="T1" fmla="*/ 4956 h 21600"/>
                  <a:gd name="T2" fmla="*/ 14164 w 21600"/>
                  <a:gd name="T3" fmla="*/ 3552 h 21600"/>
                  <a:gd name="T4" fmla="*/ 15049 w 21600"/>
                  <a:gd name="T5" fmla="*/ 3123 h 21600"/>
                  <a:gd name="T6" fmla="*/ 16466 w 21600"/>
                  <a:gd name="T7" fmla="*/ 19308 h 21600"/>
                  <a:gd name="T8" fmla="*/ 16111 w 21600"/>
                  <a:gd name="T9" fmla="*/ 20769 h 21600"/>
                  <a:gd name="T10" fmla="*/ 15049 w 21600"/>
                  <a:gd name="T11" fmla="*/ 20912 h 21600"/>
                  <a:gd name="T12" fmla="*/ 14341 w 21600"/>
                  <a:gd name="T13" fmla="*/ 20884 h 21600"/>
                  <a:gd name="T14" fmla="*/ 14695 w 21600"/>
                  <a:gd name="T15" fmla="*/ 19967 h 21600"/>
                  <a:gd name="T16" fmla="*/ 14695 w 21600"/>
                  <a:gd name="T17" fmla="*/ 16529 h 21600"/>
                  <a:gd name="T18" fmla="*/ 14518 w 21600"/>
                  <a:gd name="T19" fmla="*/ 12719 h 21600"/>
                  <a:gd name="T20" fmla="*/ 14164 w 21600"/>
                  <a:gd name="T21" fmla="*/ 8480 h 21600"/>
                  <a:gd name="T22" fmla="*/ 12039 w 21600"/>
                  <a:gd name="T23" fmla="*/ 17503 h 21600"/>
                  <a:gd name="T24" fmla="*/ 11862 w 21600"/>
                  <a:gd name="T25" fmla="*/ 20769 h 21600"/>
                  <a:gd name="T26" fmla="*/ 11331 w 21600"/>
                  <a:gd name="T27" fmla="*/ 21056 h 21600"/>
                  <a:gd name="T28" fmla="*/ 10092 w 21600"/>
                  <a:gd name="T29" fmla="*/ 21027 h 21600"/>
                  <a:gd name="T30" fmla="*/ 10269 w 21600"/>
                  <a:gd name="T31" fmla="*/ 20569 h 21600"/>
                  <a:gd name="T32" fmla="*/ 10446 w 21600"/>
                  <a:gd name="T33" fmla="*/ 17102 h 21600"/>
                  <a:gd name="T34" fmla="*/ 10446 w 21600"/>
                  <a:gd name="T35" fmla="*/ 14352 h 21600"/>
                  <a:gd name="T36" fmla="*/ 9738 w 21600"/>
                  <a:gd name="T37" fmla="*/ 10284 h 21600"/>
                  <a:gd name="T38" fmla="*/ 0 w 21600"/>
                  <a:gd name="T39" fmla="*/ 21600 h 21600"/>
                  <a:gd name="T40" fmla="*/ 11508 w 21600"/>
                  <a:gd name="T41" fmla="*/ 21485 h 21600"/>
                  <a:gd name="T42" fmla="*/ 18590 w 21600"/>
                  <a:gd name="T43" fmla="*/ 21314 h 21600"/>
                  <a:gd name="T44" fmla="*/ 17351 w 21600"/>
                  <a:gd name="T45" fmla="*/ 3638 h 21600"/>
                  <a:gd name="T46" fmla="*/ 18944 w 21600"/>
                  <a:gd name="T47" fmla="*/ 2636 h 21600"/>
                  <a:gd name="T48" fmla="*/ 21423 w 21600"/>
                  <a:gd name="T49" fmla="*/ 1461 h 21600"/>
                  <a:gd name="T50" fmla="*/ 21600 w 21600"/>
                  <a:gd name="T51" fmla="*/ 802 h 21600"/>
                  <a:gd name="T52" fmla="*/ 21246 w 21600"/>
                  <a:gd name="T53" fmla="*/ 229 h 21600"/>
                  <a:gd name="T54" fmla="*/ 11685 w 21600"/>
                  <a:gd name="T55" fmla="*/ 86 h 21600"/>
                  <a:gd name="T56" fmla="*/ 2125 w 21600"/>
                  <a:gd name="T57" fmla="*/ 29 h 21600"/>
                  <a:gd name="T58" fmla="*/ 4957 w 21600"/>
                  <a:gd name="T59" fmla="*/ 258 h 21600"/>
                  <a:gd name="T60" fmla="*/ 14695 w 21600"/>
                  <a:gd name="T61" fmla="*/ 286 h 21600"/>
                  <a:gd name="T62" fmla="*/ 20007 w 21600"/>
                  <a:gd name="T63" fmla="*/ 802 h 21600"/>
                  <a:gd name="T64" fmla="*/ 15403 w 21600"/>
                  <a:gd name="T65" fmla="*/ 1289 h 21600"/>
                  <a:gd name="T66" fmla="*/ 5134 w 21600"/>
                  <a:gd name="T67" fmla="*/ 1289 h 21600"/>
                  <a:gd name="T68" fmla="*/ 11508 w 21600"/>
                  <a:gd name="T69" fmla="*/ 2005 h 21600"/>
                  <a:gd name="T70" fmla="*/ 14518 w 21600"/>
                  <a:gd name="T71" fmla="*/ 1518 h 21600"/>
                  <a:gd name="T72" fmla="*/ 20007 w 21600"/>
                  <a:gd name="T73" fmla="*/ 1518 h 21600"/>
                  <a:gd name="T74" fmla="*/ 16997 w 21600"/>
                  <a:gd name="T75" fmla="*/ 2521 h 21600"/>
                  <a:gd name="T76" fmla="*/ 13987 w 21600"/>
                  <a:gd name="T77" fmla="*/ 2521 h 21600"/>
                  <a:gd name="T78" fmla="*/ 10800 w 21600"/>
                  <a:gd name="T79" fmla="*/ 2521 h 21600"/>
                  <a:gd name="T80" fmla="*/ 11508 w 21600"/>
                  <a:gd name="T81" fmla="*/ 2005 h 21600"/>
                  <a:gd name="T82" fmla="*/ 4957 w 21600"/>
                  <a:gd name="T83" fmla="*/ 2779 h 21600"/>
                  <a:gd name="T84" fmla="*/ 13633 w 21600"/>
                  <a:gd name="T85" fmla="*/ 2779 h 21600"/>
                  <a:gd name="T86" fmla="*/ 16820 w 21600"/>
                  <a:gd name="T87" fmla="*/ 2951 h 21600"/>
                  <a:gd name="T88" fmla="*/ 15049 w 21600"/>
                  <a:gd name="T89" fmla="*/ 3094 h 21600"/>
                  <a:gd name="T90" fmla="*/ 9030 w 21600"/>
                  <a:gd name="T91" fmla="*/ 3094 h 21600"/>
                  <a:gd name="T92" fmla="*/ 2479 w 21600"/>
                  <a:gd name="T93" fmla="*/ 3065 h 21600"/>
                  <a:gd name="T94" fmla="*/ 9561 w 21600"/>
                  <a:gd name="T95" fmla="*/ 5357 h 21600"/>
                  <a:gd name="T96" fmla="*/ 9561 w 21600"/>
                  <a:gd name="T97" fmla="*/ 4956 h 21600"/>
                  <a:gd name="T98" fmla="*/ 9738 w 21600"/>
                  <a:gd name="T99" fmla="*/ 3294 h 21600"/>
                  <a:gd name="T100" fmla="*/ 10977 w 21600"/>
                  <a:gd name="T101" fmla="*/ 3237 h 21600"/>
                  <a:gd name="T102" fmla="*/ 11331 w 21600"/>
                  <a:gd name="T103" fmla="*/ 5214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00" h="21600">
                    <a:moveTo>
                      <a:pt x="14164" y="5386"/>
                    </a:moveTo>
                    <a:lnTo>
                      <a:pt x="14164" y="5242"/>
                    </a:lnTo>
                    <a:lnTo>
                      <a:pt x="14164" y="5071"/>
                    </a:lnTo>
                    <a:lnTo>
                      <a:pt x="14164" y="4956"/>
                    </a:lnTo>
                    <a:lnTo>
                      <a:pt x="13987" y="4813"/>
                    </a:lnTo>
                    <a:lnTo>
                      <a:pt x="14164" y="4383"/>
                    </a:lnTo>
                    <a:lnTo>
                      <a:pt x="14164" y="3982"/>
                    </a:lnTo>
                    <a:lnTo>
                      <a:pt x="14164" y="3552"/>
                    </a:lnTo>
                    <a:lnTo>
                      <a:pt x="14164" y="3180"/>
                    </a:lnTo>
                    <a:lnTo>
                      <a:pt x="14518" y="3123"/>
                    </a:lnTo>
                    <a:lnTo>
                      <a:pt x="14872" y="3123"/>
                    </a:lnTo>
                    <a:lnTo>
                      <a:pt x="15049" y="3123"/>
                    </a:lnTo>
                    <a:lnTo>
                      <a:pt x="15580" y="3094"/>
                    </a:lnTo>
                    <a:lnTo>
                      <a:pt x="16111" y="12290"/>
                    </a:lnTo>
                    <a:lnTo>
                      <a:pt x="16466" y="17160"/>
                    </a:lnTo>
                    <a:lnTo>
                      <a:pt x="16466" y="19308"/>
                    </a:lnTo>
                    <a:lnTo>
                      <a:pt x="16466" y="20425"/>
                    </a:lnTo>
                    <a:lnTo>
                      <a:pt x="16289" y="20540"/>
                    </a:lnTo>
                    <a:lnTo>
                      <a:pt x="16289" y="20626"/>
                    </a:lnTo>
                    <a:lnTo>
                      <a:pt x="16111" y="20769"/>
                    </a:lnTo>
                    <a:lnTo>
                      <a:pt x="16111" y="20855"/>
                    </a:lnTo>
                    <a:lnTo>
                      <a:pt x="15757" y="20884"/>
                    </a:lnTo>
                    <a:lnTo>
                      <a:pt x="15580" y="20912"/>
                    </a:lnTo>
                    <a:lnTo>
                      <a:pt x="15049" y="20912"/>
                    </a:lnTo>
                    <a:lnTo>
                      <a:pt x="14695" y="20912"/>
                    </a:lnTo>
                    <a:lnTo>
                      <a:pt x="14518" y="20912"/>
                    </a:lnTo>
                    <a:lnTo>
                      <a:pt x="14518" y="20884"/>
                    </a:lnTo>
                    <a:lnTo>
                      <a:pt x="14341" y="20884"/>
                    </a:lnTo>
                    <a:lnTo>
                      <a:pt x="14164" y="20884"/>
                    </a:lnTo>
                    <a:lnTo>
                      <a:pt x="14341" y="20683"/>
                    </a:lnTo>
                    <a:lnTo>
                      <a:pt x="14518" y="20425"/>
                    </a:lnTo>
                    <a:lnTo>
                      <a:pt x="14695" y="19967"/>
                    </a:lnTo>
                    <a:lnTo>
                      <a:pt x="14872" y="19108"/>
                    </a:lnTo>
                    <a:lnTo>
                      <a:pt x="14872" y="17790"/>
                    </a:lnTo>
                    <a:lnTo>
                      <a:pt x="14872" y="16959"/>
                    </a:lnTo>
                    <a:lnTo>
                      <a:pt x="14695" y="16529"/>
                    </a:lnTo>
                    <a:lnTo>
                      <a:pt x="14695" y="16300"/>
                    </a:lnTo>
                    <a:lnTo>
                      <a:pt x="14695" y="15555"/>
                    </a:lnTo>
                    <a:lnTo>
                      <a:pt x="14695" y="14238"/>
                    </a:lnTo>
                    <a:lnTo>
                      <a:pt x="14518" y="12719"/>
                    </a:lnTo>
                    <a:lnTo>
                      <a:pt x="14341" y="11258"/>
                    </a:lnTo>
                    <a:lnTo>
                      <a:pt x="14164" y="11001"/>
                    </a:lnTo>
                    <a:lnTo>
                      <a:pt x="14164" y="10198"/>
                    </a:lnTo>
                    <a:lnTo>
                      <a:pt x="14164" y="8480"/>
                    </a:lnTo>
                    <a:lnTo>
                      <a:pt x="14164" y="5386"/>
                    </a:lnTo>
                    <a:lnTo>
                      <a:pt x="11331" y="5214"/>
                    </a:lnTo>
                    <a:lnTo>
                      <a:pt x="11862" y="13206"/>
                    </a:lnTo>
                    <a:lnTo>
                      <a:pt x="12039" y="17503"/>
                    </a:lnTo>
                    <a:lnTo>
                      <a:pt x="12216" y="19509"/>
                    </a:lnTo>
                    <a:lnTo>
                      <a:pt x="12039" y="20569"/>
                    </a:lnTo>
                    <a:lnTo>
                      <a:pt x="12039" y="20655"/>
                    </a:lnTo>
                    <a:lnTo>
                      <a:pt x="11862" y="20769"/>
                    </a:lnTo>
                    <a:lnTo>
                      <a:pt x="11862" y="20884"/>
                    </a:lnTo>
                    <a:lnTo>
                      <a:pt x="11685" y="20998"/>
                    </a:lnTo>
                    <a:lnTo>
                      <a:pt x="11508" y="21027"/>
                    </a:lnTo>
                    <a:lnTo>
                      <a:pt x="11331" y="21056"/>
                    </a:lnTo>
                    <a:lnTo>
                      <a:pt x="10800" y="21056"/>
                    </a:lnTo>
                    <a:lnTo>
                      <a:pt x="10269" y="21056"/>
                    </a:lnTo>
                    <a:lnTo>
                      <a:pt x="10092" y="21027"/>
                    </a:lnTo>
                    <a:lnTo>
                      <a:pt x="9738" y="21027"/>
                    </a:lnTo>
                    <a:lnTo>
                      <a:pt x="9561" y="21027"/>
                    </a:lnTo>
                    <a:lnTo>
                      <a:pt x="10092" y="20827"/>
                    </a:lnTo>
                    <a:lnTo>
                      <a:pt x="10269" y="20569"/>
                    </a:lnTo>
                    <a:lnTo>
                      <a:pt x="10446" y="20110"/>
                    </a:lnTo>
                    <a:lnTo>
                      <a:pt x="10623" y="19222"/>
                    </a:lnTo>
                    <a:lnTo>
                      <a:pt x="10623" y="17933"/>
                    </a:lnTo>
                    <a:lnTo>
                      <a:pt x="10446" y="17102"/>
                    </a:lnTo>
                    <a:lnTo>
                      <a:pt x="10446" y="16673"/>
                    </a:lnTo>
                    <a:lnTo>
                      <a:pt x="10269" y="16444"/>
                    </a:lnTo>
                    <a:lnTo>
                      <a:pt x="10446" y="15670"/>
                    </a:lnTo>
                    <a:lnTo>
                      <a:pt x="10446" y="14352"/>
                    </a:lnTo>
                    <a:lnTo>
                      <a:pt x="10269" y="12834"/>
                    </a:lnTo>
                    <a:lnTo>
                      <a:pt x="9738" y="11402"/>
                    </a:lnTo>
                    <a:lnTo>
                      <a:pt x="9738" y="11086"/>
                    </a:lnTo>
                    <a:lnTo>
                      <a:pt x="9738" y="10284"/>
                    </a:lnTo>
                    <a:lnTo>
                      <a:pt x="9561" y="8508"/>
                    </a:lnTo>
                    <a:lnTo>
                      <a:pt x="9561" y="5357"/>
                    </a:lnTo>
                    <a:lnTo>
                      <a:pt x="0" y="5328"/>
                    </a:lnTo>
                    <a:lnTo>
                      <a:pt x="0" y="21600"/>
                    </a:lnTo>
                    <a:lnTo>
                      <a:pt x="3010" y="21600"/>
                    </a:lnTo>
                    <a:lnTo>
                      <a:pt x="6197" y="21543"/>
                    </a:lnTo>
                    <a:lnTo>
                      <a:pt x="8852" y="21514"/>
                    </a:lnTo>
                    <a:lnTo>
                      <a:pt x="11508" y="21485"/>
                    </a:lnTo>
                    <a:lnTo>
                      <a:pt x="13987" y="21457"/>
                    </a:lnTo>
                    <a:lnTo>
                      <a:pt x="15934" y="21428"/>
                    </a:lnTo>
                    <a:lnTo>
                      <a:pt x="17528" y="21342"/>
                    </a:lnTo>
                    <a:lnTo>
                      <a:pt x="18590" y="21314"/>
                    </a:lnTo>
                    <a:lnTo>
                      <a:pt x="18767" y="18879"/>
                    </a:lnTo>
                    <a:lnTo>
                      <a:pt x="18944" y="14180"/>
                    </a:lnTo>
                    <a:lnTo>
                      <a:pt x="18590" y="8680"/>
                    </a:lnTo>
                    <a:lnTo>
                      <a:pt x="17351" y="3638"/>
                    </a:lnTo>
                    <a:lnTo>
                      <a:pt x="17528" y="3380"/>
                    </a:lnTo>
                    <a:lnTo>
                      <a:pt x="18236" y="3094"/>
                    </a:lnTo>
                    <a:lnTo>
                      <a:pt x="18767" y="2836"/>
                    </a:lnTo>
                    <a:lnTo>
                      <a:pt x="18944" y="2636"/>
                    </a:lnTo>
                    <a:lnTo>
                      <a:pt x="19121" y="2349"/>
                    </a:lnTo>
                    <a:lnTo>
                      <a:pt x="20007" y="2034"/>
                    </a:lnTo>
                    <a:lnTo>
                      <a:pt x="20892" y="1747"/>
                    </a:lnTo>
                    <a:lnTo>
                      <a:pt x="21423" y="1461"/>
                    </a:lnTo>
                    <a:lnTo>
                      <a:pt x="21600" y="1260"/>
                    </a:lnTo>
                    <a:lnTo>
                      <a:pt x="21600" y="1060"/>
                    </a:lnTo>
                    <a:lnTo>
                      <a:pt x="21600" y="917"/>
                    </a:lnTo>
                    <a:lnTo>
                      <a:pt x="21600" y="802"/>
                    </a:lnTo>
                    <a:lnTo>
                      <a:pt x="21600" y="716"/>
                    </a:lnTo>
                    <a:lnTo>
                      <a:pt x="21600" y="516"/>
                    </a:lnTo>
                    <a:lnTo>
                      <a:pt x="21423" y="372"/>
                    </a:lnTo>
                    <a:lnTo>
                      <a:pt x="21246" y="229"/>
                    </a:lnTo>
                    <a:lnTo>
                      <a:pt x="21069" y="57"/>
                    </a:lnTo>
                    <a:lnTo>
                      <a:pt x="17528" y="86"/>
                    </a:lnTo>
                    <a:lnTo>
                      <a:pt x="14518" y="86"/>
                    </a:lnTo>
                    <a:lnTo>
                      <a:pt x="11685" y="86"/>
                    </a:lnTo>
                    <a:lnTo>
                      <a:pt x="9030" y="86"/>
                    </a:lnTo>
                    <a:lnTo>
                      <a:pt x="6551" y="57"/>
                    </a:lnTo>
                    <a:lnTo>
                      <a:pt x="4249" y="57"/>
                    </a:lnTo>
                    <a:lnTo>
                      <a:pt x="2125" y="29"/>
                    </a:lnTo>
                    <a:lnTo>
                      <a:pt x="0" y="0"/>
                    </a:lnTo>
                    <a:lnTo>
                      <a:pt x="0" y="258"/>
                    </a:lnTo>
                    <a:lnTo>
                      <a:pt x="2479" y="258"/>
                    </a:lnTo>
                    <a:lnTo>
                      <a:pt x="4957" y="258"/>
                    </a:lnTo>
                    <a:lnTo>
                      <a:pt x="7436" y="258"/>
                    </a:lnTo>
                    <a:lnTo>
                      <a:pt x="9738" y="258"/>
                    </a:lnTo>
                    <a:lnTo>
                      <a:pt x="12216" y="286"/>
                    </a:lnTo>
                    <a:lnTo>
                      <a:pt x="14695" y="286"/>
                    </a:lnTo>
                    <a:lnTo>
                      <a:pt x="17174" y="286"/>
                    </a:lnTo>
                    <a:lnTo>
                      <a:pt x="19652" y="286"/>
                    </a:lnTo>
                    <a:lnTo>
                      <a:pt x="19830" y="516"/>
                    </a:lnTo>
                    <a:lnTo>
                      <a:pt x="20007" y="802"/>
                    </a:lnTo>
                    <a:lnTo>
                      <a:pt x="20184" y="1031"/>
                    </a:lnTo>
                    <a:lnTo>
                      <a:pt x="20361" y="1289"/>
                    </a:lnTo>
                    <a:lnTo>
                      <a:pt x="17705" y="1289"/>
                    </a:lnTo>
                    <a:lnTo>
                      <a:pt x="15403" y="1289"/>
                    </a:lnTo>
                    <a:lnTo>
                      <a:pt x="12748" y="1289"/>
                    </a:lnTo>
                    <a:lnTo>
                      <a:pt x="10269" y="1289"/>
                    </a:lnTo>
                    <a:lnTo>
                      <a:pt x="7613" y="1289"/>
                    </a:lnTo>
                    <a:lnTo>
                      <a:pt x="5134" y="1289"/>
                    </a:lnTo>
                    <a:lnTo>
                      <a:pt x="2479" y="1289"/>
                    </a:lnTo>
                    <a:lnTo>
                      <a:pt x="0" y="1289"/>
                    </a:lnTo>
                    <a:lnTo>
                      <a:pt x="0" y="1977"/>
                    </a:lnTo>
                    <a:lnTo>
                      <a:pt x="11508" y="2005"/>
                    </a:lnTo>
                    <a:lnTo>
                      <a:pt x="11862" y="1891"/>
                    </a:lnTo>
                    <a:lnTo>
                      <a:pt x="12748" y="1747"/>
                    </a:lnTo>
                    <a:lnTo>
                      <a:pt x="13456" y="1662"/>
                    </a:lnTo>
                    <a:lnTo>
                      <a:pt x="14518" y="1518"/>
                    </a:lnTo>
                    <a:lnTo>
                      <a:pt x="15934" y="1518"/>
                    </a:lnTo>
                    <a:lnTo>
                      <a:pt x="17351" y="1518"/>
                    </a:lnTo>
                    <a:lnTo>
                      <a:pt x="18590" y="1518"/>
                    </a:lnTo>
                    <a:lnTo>
                      <a:pt x="20007" y="1518"/>
                    </a:lnTo>
                    <a:lnTo>
                      <a:pt x="18767" y="1747"/>
                    </a:lnTo>
                    <a:lnTo>
                      <a:pt x="17705" y="2005"/>
                    </a:lnTo>
                    <a:lnTo>
                      <a:pt x="17174" y="2234"/>
                    </a:lnTo>
                    <a:lnTo>
                      <a:pt x="16997" y="2521"/>
                    </a:lnTo>
                    <a:lnTo>
                      <a:pt x="16111" y="2521"/>
                    </a:lnTo>
                    <a:lnTo>
                      <a:pt x="15580" y="2521"/>
                    </a:lnTo>
                    <a:lnTo>
                      <a:pt x="14695" y="2521"/>
                    </a:lnTo>
                    <a:lnTo>
                      <a:pt x="13987" y="2521"/>
                    </a:lnTo>
                    <a:lnTo>
                      <a:pt x="13102" y="2521"/>
                    </a:lnTo>
                    <a:lnTo>
                      <a:pt x="12393" y="2521"/>
                    </a:lnTo>
                    <a:lnTo>
                      <a:pt x="11685" y="2521"/>
                    </a:lnTo>
                    <a:lnTo>
                      <a:pt x="10800" y="2521"/>
                    </a:lnTo>
                    <a:lnTo>
                      <a:pt x="10800" y="2378"/>
                    </a:lnTo>
                    <a:lnTo>
                      <a:pt x="10800" y="2234"/>
                    </a:lnTo>
                    <a:lnTo>
                      <a:pt x="10977" y="2149"/>
                    </a:lnTo>
                    <a:lnTo>
                      <a:pt x="11508" y="2005"/>
                    </a:lnTo>
                    <a:lnTo>
                      <a:pt x="0" y="1977"/>
                    </a:lnTo>
                    <a:lnTo>
                      <a:pt x="0" y="2779"/>
                    </a:lnTo>
                    <a:lnTo>
                      <a:pt x="2479" y="2779"/>
                    </a:lnTo>
                    <a:lnTo>
                      <a:pt x="4957" y="2779"/>
                    </a:lnTo>
                    <a:lnTo>
                      <a:pt x="7259" y="2779"/>
                    </a:lnTo>
                    <a:lnTo>
                      <a:pt x="9561" y="2779"/>
                    </a:lnTo>
                    <a:lnTo>
                      <a:pt x="11685" y="2779"/>
                    </a:lnTo>
                    <a:lnTo>
                      <a:pt x="13633" y="2779"/>
                    </a:lnTo>
                    <a:lnTo>
                      <a:pt x="15403" y="2807"/>
                    </a:lnTo>
                    <a:lnTo>
                      <a:pt x="16820" y="2807"/>
                    </a:lnTo>
                    <a:lnTo>
                      <a:pt x="16820" y="2865"/>
                    </a:lnTo>
                    <a:lnTo>
                      <a:pt x="16820" y="2951"/>
                    </a:lnTo>
                    <a:lnTo>
                      <a:pt x="16466" y="3008"/>
                    </a:lnTo>
                    <a:lnTo>
                      <a:pt x="16466" y="3065"/>
                    </a:lnTo>
                    <a:lnTo>
                      <a:pt x="15757" y="3065"/>
                    </a:lnTo>
                    <a:lnTo>
                      <a:pt x="15049" y="3094"/>
                    </a:lnTo>
                    <a:lnTo>
                      <a:pt x="14518" y="3094"/>
                    </a:lnTo>
                    <a:lnTo>
                      <a:pt x="13633" y="3123"/>
                    </a:lnTo>
                    <a:lnTo>
                      <a:pt x="11331" y="3123"/>
                    </a:lnTo>
                    <a:lnTo>
                      <a:pt x="9030" y="3094"/>
                    </a:lnTo>
                    <a:lnTo>
                      <a:pt x="7259" y="3094"/>
                    </a:lnTo>
                    <a:lnTo>
                      <a:pt x="5489" y="3094"/>
                    </a:lnTo>
                    <a:lnTo>
                      <a:pt x="3895" y="3065"/>
                    </a:lnTo>
                    <a:lnTo>
                      <a:pt x="2479" y="3065"/>
                    </a:lnTo>
                    <a:lnTo>
                      <a:pt x="1239" y="3065"/>
                    </a:lnTo>
                    <a:lnTo>
                      <a:pt x="0" y="3065"/>
                    </a:lnTo>
                    <a:lnTo>
                      <a:pt x="0" y="5328"/>
                    </a:lnTo>
                    <a:lnTo>
                      <a:pt x="9561" y="5357"/>
                    </a:lnTo>
                    <a:lnTo>
                      <a:pt x="9561" y="5242"/>
                    </a:lnTo>
                    <a:lnTo>
                      <a:pt x="9561" y="5156"/>
                    </a:lnTo>
                    <a:lnTo>
                      <a:pt x="9561" y="5042"/>
                    </a:lnTo>
                    <a:lnTo>
                      <a:pt x="9561" y="4956"/>
                    </a:lnTo>
                    <a:lnTo>
                      <a:pt x="9561" y="4526"/>
                    </a:lnTo>
                    <a:lnTo>
                      <a:pt x="9738" y="4125"/>
                    </a:lnTo>
                    <a:lnTo>
                      <a:pt x="9738" y="3695"/>
                    </a:lnTo>
                    <a:lnTo>
                      <a:pt x="9738" y="3294"/>
                    </a:lnTo>
                    <a:lnTo>
                      <a:pt x="10269" y="3266"/>
                    </a:lnTo>
                    <a:lnTo>
                      <a:pt x="10446" y="3266"/>
                    </a:lnTo>
                    <a:lnTo>
                      <a:pt x="10800" y="3266"/>
                    </a:lnTo>
                    <a:lnTo>
                      <a:pt x="10977" y="3237"/>
                    </a:lnTo>
                    <a:lnTo>
                      <a:pt x="11331" y="3753"/>
                    </a:lnTo>
                    <a:lnTo>
                      <a:pt x="11331" y="4268"/>
                    </a:lnTo>
                    <a:lnTo>
                      <a:pt x="11331" y="4727"/>
                    </a:lnTo>
                    <a:lnTo>
                      <a:pt x="11331" y="5214"/>
                    </a:lnTo>
                    <a:lnTo>
                      <a:pt x="14164" y="5386"/>
                    </a:lnTo>
                    <a:close/>
                    <a:moveTo>
                      <a:pt x="14164" y="5386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64" name="Freeform 54"/>
              <p:cNvSpPr>
                <a:spLocks/>
              </p:cNvSpPr>
              <p:nvPr/>
            </p:nvSpPr>
            <p:spPr bwMode="gray">
              <a:xfrm>
                <a:off x="177" y="71"/>
                <a:ext cx="12" cy="10"/>
              </a:xfrm>
              <a:custGeom>
                <a:avLst/>
                <a:gdLst>
                  <a:gd name="T0" fmla="*/ 372 w 21600"/>
                  <a:gd name="T1" fmla="*/ 1925 h 21600"/>
                  <a:gd name="T2" fmla="*/ 0 w 21600"/>
                  <a:gd name="T3" fmla="*/ 4919 h 21600"/>
                  <a:gd name="T4" fmla="*/ 2421 w 21600"/>
                  <a:gd name="T5" fmla="*/ 6630 h 21600"/>
                  <a:gd name="T6" fmla="*/ 2421 w 21600"/>
                  <a:gd name="T7" fmla="*/ 8127 h 21600"/>
                  <a:gd name="T8" fmla="*/ 2048 w 21600"/>
                  <a:gd name="T9" fmla="*/ 9624 h 21600"/>
                  <a:gd name="T10" fmla="*/ 7076 w 21600"/>
                  <a:gd name="T11" fmla="*/ 9624 h 21600"/>
                  <a:gd name="T12" fmla="*/ 11917 w 21600"/>
                  <a:gd name="T13" fmla="*/ 9624 h 21600"/>
                  <a:gd name="T14" fmla="*/ 16759 w 21600"/>
                  <a:gd name="T15" fmla="*/ 9624 h 21600"/>
                  <a:gd name="T16" fmla="*/ 21600 w 21600"/>
                  <a:gd name="T17" fmla="*/ 9624 h 21600"/>
                  <a:gd name="T18" fmla="*/ 2793 w 21600"/>
                  <a:gd name="T19" fmla="*/ 14329 h 21600"/>
                  <a:gd name="T20" fmla="*/ 5214 w 21600"/>
                  <a:gd name="T21" fmla="*/ 17109 h 21600"/>
                  <a:gd name="T22" fmla="*/ 6703 w 21600"/>
                  <a:gd name="T23" fmla="*/ 20103 h 21600"/>
                  <a:gd name="T24" fmla="*/ 6703 w 21600"/>
                  <a:gd name="T25" fmla="*/ 20958 h 21600"/>
                  <a:gd name="T26" fmla="*/ 6703 w 21600"/>
                  <a:gd name="T27" fmla="*/ 21600 h 21600"/>
                  <a:gd name="T28" fmla="*/ 8193 w 21600"/>
                  <a:gd name="T29" fmla="*/ 21386 h 21600"/>
                  <a:gd name="T30" fmla="*/ 7821 w 21600"/>
                  <a:gd name="T31" fmla="*/ 20958 h 21600"/>
                  <a:gd name="T32" fmla="*/ 8752 w 21600"/>
                  <a:gd name="T33" fmla="*/ 20745 h 21600"/>
                  <a:gd name="T34" fmla="*/ 11359 w 21600"/>
                  <a:gd name="T35" fmla="*/ 20745 h 21600"/>
                  <a:gd name="T36" fmla="*/ 14897 w 21600"/>
                  <a:gd name="T37" fmla="*/ 20745 h 21600"/>
                  <a:gd name="T38" fmla="*/ 19366 w 21600"/>
                  <a:gd name="T39" fmla="*/ 20745 h 21600"/>
                  <a:gd name="T40" fmla="*/ 21600 w 21600"/>
                  <a:gd name="T41" fmla="*/ 14756 h 21600"/>
                  <a:gd name="T42" fmla="*/ 2048 w 21600"/>
                  <a:gd name="T43" fmla="*/ 13259 h 21600"/>
                  <a:gd name="T44" fmla="*/ 745 w 21600"/>
                  <a:gd name="T45" fmla="*/ 11549 h 21600"/>
                  <a:gd name="T46" fmla="*/ 372 w 21600"/>
                  <a:gd name="T47" fmla="*/ 9624 h 21600"/>
                  <a:gd name="T48" fmla="*/ 186 w 21600"/>
                  <a:gd name="T49" fmla="*/ 7699 h 21600"/>
                  <a:gd name="T50" fmla="*/ 2421 w 21600"/>
                  <a:gd name="T51" fmla="*/ 6630 h 21600"/>
                  <a:gd name="T52" fmla="*/ 2607 w 21600"/>
                  <a:gd name="T53" fmla="*/ 4277 h 21600"/>
                  <a:gd name="T54" fmla="*/ 2607 w 21600"/>
                  <a:gd name="T55" fmla="*/ 1925 h 21600"/>
                  <a:gd name="T56" fmla="*/ 7262 w 21600"/>
                  <a:gd name="T57" fmla="*/ 1925 h 21600"/>
                  <a:gd name="T58" fmla="*/ 12290 w 21600"/>
                  <a:gd name="T59" fmla="*/ 1925 h 21600"/>
                  <a:gd name="T60" fmla="*/ 16945 w 21600"/>
                  <a:gd name="T61" fmla="*/ 1925 h 21600"/>
                  <a:gd name="T62" fmla="*/ 21600 w 21600"/>
                  <a:gd name="T63" fmla="*/ 1925 h 21600"/>
                  <a:gd name="T64" fmla="*/ 1117 w 21600"/>
                  <a:gd name="T65" fmla="*/ 42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600" h="21600">
                    <a:moveTo>
                      <a:pt x="1117" y="428"/>
                    </a:moveTo>
                    <a:lnTo>
                      <a:pt x="372" y="1925"/>
                    </a:lnTo>
                    <a:lnTo>
                      <a:pt x="186" y="3422"/>
                    </a:lnTo>
                    <a:lnTo>
                      <a:pt x="0" y="4919"/>
                    </a:lnTo>
                    <a:lnTo>
                      <a:pt x="0" y="6630"/>
                    </a:lnTo>
                    <a:lnTo>
                      <a:pt x="2421" y="6630"/>
                    </a:lnTo>
                    <a:lnTo>
                      <a:pt x="2421" y="7485"/>
                    </a:lnTo>
                    <a:lnTo>
                      <a:pt x="2421" y="8127"/>
                    </a:lnTo>
                    <a:lnTo>
                      <a:pt x="2421" y="8768"/>
                    </a:lnTo>
                    <a:lnTo>
                      <a:pt x="2048" y="9624"/>
                    </a:lnTo>
                    <a:lnTo>
                      <a:pt x="4655" y="9624"/>
                    </a:lnTo>
                    <a:lnTo>
                      <a:pt x="7076" y="9624"/>
                    </a:lnTo>
                    <a:lnTo>
                      <a:pt x="9683" y="9624"/>
                    </a:lnTo>
                    <a:lnTo>
                      <a:pt x="11917" y="9624"/>
                    </a:lnTo>
                    <a:lnTo>
                      <a:pt x="14338" y="9624"/>
                    </a:lnTo>
                    <a:lnTo>
                      <a:pt x="16759" y="9624"/>
                    </a:lnTo>
                    <a:lnTo>
                      <a:pt x="19366" y="9624"/>
                    </a:lnTo>
                    <a:lnTo>
                      <a:pt x="21600" y="9624"/>
                    </a:lnTo>
                    <a:lnTo>
                      <a:pt x="21600" y="14756"/>
                    </a:lnTo>
                    <a:lnTo>
                      <a:pt x="2793" y="14329"/>
                    </a:lnTo>
                    <a:lnTo>
                      <a:pt x="4097" y="15612"/>
                    </a:lnTo>
                    <a:lnTo>
                      <a:pt x="5214" y="17109"/>
                    </a:lnTo>
                    <a:lnTo>
                      <a:pt x="5959" y="18392"/>
                    </a:lnTo>
                    <a:lnTo>
                      <a:pt x="6703" y="20103"/>
                    </a:lnTo>
                    <a:lnTo>
                      <a:pt x="6703" y="20531"/>
                    </a:lnTo>
                    <a:lnTo>
                      <a:pt x="6703" y="20958"/>
                    </a:lnTo>
                    <a:lnTo>
                      <a:pt x="6703" y="21172"/>
                    </a:lnTo>
                    <a:lnTo>
                      <a:pt x="6703" y="21600"/>
                    </a:lnTo>
                    <a:lnTo>
                      <a:pt x="8193" y="21600"/>
                    </a:lnTo>
                    <a:lnTo>
                      <a:pt x="8193" y="21386"/>
                    </a:lnTo>
                    <a:lnTo>
                      <a:pt x="8193" y="21172"/>
                    </a:lnTo>
                    <a:lnTo>
                      <a:pt x="7821" y="20958"/>
                    </a:lnTo>
                    <a:lnTo>
                      <a:pt x="7821" y="20745"/>
                    </a:lnTo>
                    <a:lnTo>
                      <a:pt x="8752" y="20745"/>
                    </a:lnTo>
                    <a:lnTo>
                      <a:pt x="9869" y="20745"/>
                    </a:lnTo>
                    <a:lnTo>
                      <a:pt x="11359" y="20745"/>
                    </a:lnTo>
                    <a:lnTo>
                      <a:pt x="13034" y="20745"/>
                    </a:lnTo>
                    <a:lnTo>
                      <a:pt x="14897" y="20745"/>
                    </a:lnTo>
                    <a:lnTo>
                      <a:pt x="17131" y="20745"/>
                    </a:lnTo>
                    <a:lnTo>
                      <a:pt x="19366" y="20745"/>
                    </a:lnTo>
                    <a:lnTo>
                      <a:pt x="21600" y="20745"/>
                    </a:lnTo>
                    <a:lnTo>
                      <a:pt x="21600" y="14756"/>
                    </a:lnTo>
                    <a:lnTo>
                      <a:pt x="2793" y="14329"/>
                    </a:lnTo>
                    <a:lnTo>
                      <a:pt x="2048" y="13259"/>
                    </a:lnTo>
                    <a:lnTo>
                      <a:pt x="1490" y="12618"/>
                    </a:lnTo>
                    <a:lnTo>
                      <a:pt x="745" y="11549"/>
                    </a:lnTo>
                    <a:lnTo>
                      <a:pt x="372" y="10693"/>
                    </a:lnTo>
                    <a:lnTo>
                      <a:pt x="372" y="9624"/>
                    </a:lnTo>
                    <a:lnTo>
                      <a:pt x="186" y="8554"/>
                    </a:lnTo>
                    <a:lnTo>
                      <a:pt x="186" y="7699"/>
                    </a:lnTo>
                    <a:lnTo>
                      <a:pt x="0" y="6630"/>
                    </a:lnTo>
                    <a:lnTo>
                      <a:pt x="2421" y="6630"/>
                    </a:lnTo>
                    <a:lnTo>
                      <a:pt x="2607" y="5347"/>
                    </a:lnTo>
                    <a:lnTo>
                      <a:pt x="2607" y="4277"/>
                    </a:lnTo>
                    <a:lnTo>
                      <a:pt x="2607" y="3208"/>
                    </a:lnTo>
                    <a:lnTo>
                      <a:pt x="2607" y="1925"/>
                    </a:lnTo>
                    <a:lnTo>
                      <a:pt x="4841" y="1925"/>
                    </a:lnTo>
                    <a:lnTo>
                      <a:pt x="7262" y="1925"/>
                    </a:lnTo>
                    <a:lnTo>
                      <a:pt x="9683" y="1925"/>
                    </a:lnTo>
                    <a:lnTo>
                      <a:pt x="12290" y="1925"/>
                    </a:lnTo>
                    <a:lnTo>
                      <a:pt x="14524" y="1925"/>
                    </a:lnTo>
                    <a:lnTo>
                      <a:pt x="16945" y="1925"/>
                    </a:lnTo>
                    <a:lnTo>
                      <a:pt x="19366" y="1925"/>
                    </a:lnTo>
                    <a:lnTo>
                      <a:pt x="21600" y="1925"/>
                    </a:lnTo>
                    <a:lnTo>
                      <a:pt x="21600" y="0"/>
                    </a:lnTo>
                    <a:lnTo>
                      <a:pt x="1117" y="428"/>
                    </a:lnTo>
                    <a:close/>
                    <a:moveTo>
                      <a:pt x="1117" y="42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65" name="Freeform 55"/>
              <p:cNvSpPr>
                <a:spLocks/>
              </p:cNvSpPr>
              <p:nvPr/>
            </p:nvSpPr>
            <p:spPr bwMode="gray">
              <a:xfrm>
                <a:off x="178" y="81"/>
                <a:ext cx="11" cy="68"/>
              </a:xfrm>
              <a:custGeom>
                <a:avLst/>
                <a:gdLst>
                  <a:gd name="T0" fmla="*/ 21600 w 21600"/>
                  <a:gd name="T1" fmla="*/ 2812 h 21600"/>
                  <a:gd name="T2" fmla="*/ 7340 w 21600"/>
                  <a:gd name="T3" fmla="*/ 2183 h 21600"/>
                  <a:gd name="T4" fmla="*/ 7340 w 21600"/>
                  <a:gd name="T5" fmla="*/ 1092 h 21600"/>
                  <a:gd name="T6" fmla="*/ 7130 w 21600"/>
                  <a:gd name="T7" fmla="*/ 496 h 21600"/>
                  <a:gd name="T8" fmla="*/ 6501 w 21600"/>
                  <a:gd name="T9" fmla="*/ 496 h 21600"/>
                  <a:gd name="T10" fmla="*/ 5872 w 21600"/>
                  <a:gd name="T11" fmla="*/ 959 h 21600"/>
                  <a:gd name="T12" fmla="*/ 5662 w 21600"/>
                  <a:gd name="T13" fmla="*/ 1952 h 21600"/>
                  <a:gd name="T14" fmla="*/ 5243 w 21600"/>
                  <a:gd name="T15" fmla="*/ 3936 h 21600"/>
                  <a:gd name="T16" fmla="*/ 4194 w 21600"/>
                  <a:gd name="T17" fmla="*/ 8170 h 21600"/>
                  <a:gd name="T18" fmla="*/ 3775 w 21600"/>
                  <a:gd name="T19" fmla="*/ 12107 h 21600"/>
                  <a:gd name="T20" fmla="*/ 3355 w 21600"/>
                  <a:gd name="T21" fmla="*/ 13760 h 21600"/>
                  <a:gd name="T22" fmla="*/ 2726 w 21600"/>
                  <a:gd name="T23" fmla="*/ 16241 h 21600"/>
                  <a:gd name="T24" fmla="*/ 2307 w 21600"/>
                  <a:gd name="T25" fmla="*/ 18491 h 21600"/>
                  <a:gd name="T26" fmla="*/ 2307 w 21600"/>
                  <a:gd name="T27" fmla="*/ 21104 h 21600"/>
                  <a:gd name="T28" fmla="*/ 3565 w 21600"/>
                  <a:gd name="T29" fmla="*/ 21038 h 21600"/>
                  <a:gd name="T30" fmla="*/ 4194 w 21600"/>
                  <a:gd name="T31" fmla="*/ 20674 h 21600"/>
                  <a:gd name="T32" fmla="*/ 4404 w 21600"/>
                  <a:gd name="T33" fmla="*/ 19979 h 21600"/>
                  <a:gd name="T34" fmla="*/ 5662 w 21600"/>
                  <a:gd name="T35" fmla="*/ 13959 h 21600"/>
                  <a:gd name="T36" fmla="*/ 6920 w 21600"/>
                  <a:gd name="T37" fmla="*/ 6913 h 21600"/>
                  <a:gd name="T38" fmla="*/ 7340 w 21600"/>
                  <a:gd name="T39" fmla="*/ 4862 h 21600"/>
                  <a:gd name="T40" fmla="*/ 7340 w 21600"/>
                  <a:gd name="T41" fmla="*/ 3506 h 21600"/>
                  <a:gd name="T42" fmla="*/ 21600 w 21600"/>
                  <a:gd name="T43" fmla="*/ 2812 h 21600"/>
                  <a:gd name="T44" fmla="*/ 16986 w 21600"/>
                  <a:gd name="T45" fmla="*/ 21600 h 21600"/>
                  <a:gd name="T46" fmla="*/ 8808 w 21600"/>
                  <a:gd name="T47" fmla="*/ 21534 h 21600"/>
                  <a:gd name="T48" fmla="*/ 2726 w 21600"/>
                  <a:gd name="T49" fmla="*/ 21435 h 21600"/>
                  <a:gd name="T50" fmla="*/ 0 w 21600"/>
                  <a:gd name="T51" fmla="*/ 21203 h 21600"/>
                  <a:gd name="T52" fmla="*/ 839 w 21600"/>
                  <a:gd name="T53" fmla="*/ 18160 h 21600"/>
                  <a:gd name="T54" fmla="*/ 2307 w 21600"/>
                  <a:gd name="T55" fmla="*/ 11379 h 21600"/>
                  <a:gd name="T56" fmla="*/ 3355 w 21600"/>
                  <a:gd name="T57" fmla="*/ 8137 h 21600"/>
                  <a:gd name="T58" fmla="*/ 3984 w 21600"/>
                  <a:gd name="T59" fmla="*/ 4565 h 21600"/>
                  <a:gd name="T60" fmla="*/ 5452 w 21600"/>
                  <a:gd name="T61" fmla="*/ 2712 h 21600"/>
                  <a:gd name="T62" fmla="*/ 4194 w 21600"/>
                  <a:gd name="T63" fmla="*/ 2084 h 21600"/>
                  <a:gd name="T64" fmla="*/ 4404 w 21600"/>
                  <a:gd name="T65" fmla="*/ 695 h 21600"/>
                  <a:gd name="T66" fmla="*/ 6501 w 21600"/>
                  <a:gd name="T67" fmla="*/ 0 h 21600"/>
                  <a:gd name="T68" fmla="*/ 6711 w 21600"/>
                  <a:gd name="T69" fmla="*/ 132 h 21600"/>
                  <a:gd name="T70" fmla="*/ 6711 w 21600"/>
                  <a:gd name="T71" fmla="*/ 232 h 21600"/>
                  <a:gd name="T72" fmla="*/ 11534 w 21600"/>
                  <a:gd name="T73" fmla="*/ 198 h 21600"/>
                  <a:gd name="T74" fmla="*/ 15309 w 21600"/>
                  <a:gd name="T75" fmla="*/ 198 h 21600"/>
                  <a:gd name="T76" fmla="*/ 18454 w 21600"/>
                  <a:gd name="T77" fmla="*/ 198 h 21600"/>
                  <a:gd name="T78" fmla="*/ 21600 w 21600"/>
                  <a:gd name="T79" fmla="*/ 19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1600" h="21600">
                    <a:moveTo>
                      <a:pt x="21600" y="198"/>
                    </a:moveTo>
                    <a:lnTo>
                      <a:pt x="21600" y="2812"/>
                    </a:lnTo>
                    <a:lnTo>
                      <a:pt x="7340" y="2745"/>
                    </a:lnTo>
                    <a:lnTo>
                      <a:pt x="7340" y="2183"/>
                    </a:lnTo>
                    <a:lnTo>
                      <a:pt x="7340" y="1621"/>
                    </a:lnTo>
                    <a:lnTo>
                      <a:pt x="7340" y="1092"/>
                    </a:lnTo>
                    <a:lnTo>
                      <a:pt x="7340" y="496"/>
                    </a:lnTo>
                    <a:lnTo>
                      <a:pt x="7130" y="496"/>
                    </a:lnTo>
                    <a:lnTo>
                      <a:pt x="6711" y="496"/>
                    </a:lnTo>
                    <a:lnTo>
                      <a:pt x="6501" y="496"/>
                    </a:lnTo>
                    <a:lnTo>
                      <a:pt x="6082" y="562"/>
                    </a:lnTo>
                    <a:lnTo>
                      <a:pt x="5872" y="959"/>
                    </a:lnTo>
                    <a:lnTo>
                      <a:pt x="5872" y="1389"/>
                    </a:lnTo>
                    <a:lnTo>
                      <a:pt x="5662" y="1952"/>
                    </a:lnTo>
                    <a:lnTo>
                      <a:pt x="5452" y="2712"/>
                    </a:lnTo>
                    <a:lnTo>
                      <a:pt x="5243" y="3936"/>
                    </a:lnTo>
                    <a:lnTo>
                      <a:pt x="5033" y="5689"/>
                    </a:lnTo>
                    <a:lnTo>
                      <a:pt x="4194" y="8170"/>
                    </a:lnTo>
                    <a:lnTo>
                      <a:pt x="3565" y="11445"/>
                    </a:lnTo>
                    <a:lnTo>
                      <a:pt x="3775" y="12107"/>
                    </a:lnTo>
                    <a:lnTo>
                      <a:pt x="3565" y="12735"/>
                    </a:lnTo>
                    <a:lnTo>
                      <a:pt x="3355" y="13760"/>
                    </a:lnTo>
                    <a:lnTo>
                      <a:pt x="2517" y="15613"/>
                    </a:lnTo>
                    <a:lnTo>
                      <a:pt x="2726" y="16241"/>
                    </a:lnTo>
                    <a:lnTo>
                      <a:pt x="2517" y="17035"/>
                    </a:lnTo>
                    <a:lnTo>
                      <a:pt x="2307" y="18491"/>
                    </a:lnTo>
                    <a:lnTo>
                      <a:pt x="1887" y="21137"/>
                    </a:lnTo>
                    <a:lnTo>
                      <a:pt x="2307" y="21104"/>
                    </a:lnTo>
                    <a:lnTo>
                      <a:pt x="3146" y="21038"/>
                    </a:lnTo>
                    <a:lnTo>
                      <a:pt x="3565" y="21038"/>
                    </a:lnTo>
                    <a:lnTo>
                      <a:pt x="3984" y="21005"/>
                    </a:lnTo>
                    <a:lnTo>
                      <a:pt x="4194" y="20674"/>
                    </a:lnTo>
                    <a:lnTo>
                      <a:pt x="4404" y="20343"/>
                    </a:lnTo>
                    <a:lnTo>
                      <a:pt x="4404" y="19979"/>
                    </a:lnTo>
                    <a:lnTo>
                      <a:pt x="4823" y="19648"/>
                    </a:lnTo>
                    <a:lnTo>
                      <a:pt x="5662" y="13959"/>
                    </a:lnTo>
                    <a:lnTo>
                      <a:pt x="6501" y="9758"/>
                    </a:lnTo>
                    <a:lnTo>
                      <a:pt x="6920" y="6913"/>
                    </a:lnTo>
                    <a:lnTo>
                      <a:pt x="7340" y="5326"/>
                    </a:lnTo>
                    <a:lnTo>
                      <a:pt x="7340" y="4862"/>
                    </a:lnTo>
                    <a:lnTo>
                      <a:pt x="7340" y="4234"/>
                    </a:lnTo>
                    <a:lnTo>
                      <a:pt x="7340" y="3506"/>
                    </a:lnTo>
                    <a:lnTo>
                      <a:pt x="7340" y="2745"/>
                    </a:lnTo>
                    <a:lnTo>
                      <a:pt x="21600" y="2812"/>
                    </a:lnTo>
                    <a:lnTo>
                      <a:pt x="21600" y="21600"/>
                    </a:lnTo>
                    <a:lnTo>
                      <a:pt x="16986" y="21600"/>
                    </a:lnTo>
                    <a:lnTo>
                      <a:pt x="13002" y="21600"/>
                    </a:lnTo>
                    <a:lnTo>
                      <a:pt x="8808" y="21534"/>
                    </a:lnTo>
                    <a:lnTo>
                      <a:pt x="5452" y="21501"/>
                    </a:lnTo>
                    <a:lnTo>
                      <a:pt x="2726" y="21435"/>
                    </a:lnTo>
                    <a:lnTo>
                      <a:pt x="839" y="21302"/>
                    </a:lnTo>
                    <a:lnTo>
                      <a:pt x="0" y="21203"/>
                    </a:lnTo>
                    <a:lnTo>
                      <a:pt x="210" y="21038"/>
                    </a:lnTo>
                    <a:lnTo>
                      <a:pt x="839" y="18160"/>
                    </a:lnTo>
                    <a:lnTo>
                      <a:pt x="1887" y="14488"/>
                    </a:lnTo>
                    <a:lnTo>
                      <a:pt x="2307" y="11379"/>
                    </a:lnTo>
                    <a:lnTo>
                      <a:pt x="2726" y="9957"/>
                    </a:lnTo>
                    <a:lnTo>
                      <a:pt x="3355" y="8137"/>
                    </a:lnTo>
                    <a:lnTo>
                      <a:pt x="3565" y="6351"/>
                    </a:lnTo>
                    <a:lnTo>
                      <a:pt x="3984" y="4565"/>
                    </a:lnTo>
                    <a:lnTo>
                      <a:pt x="4194" y="2712"/>
                    </a:lnTo>
                    <a:lnTo>
                      <a:pt x="5452" y="2712"/>
                    </a:lnTo>
                    <a:lnTo>
                      <a:pt x="4194" y="2712"/>
                    </a:lnTo>
                    <a:lnTo>
                      <a:pt x="4194" y="2084"/>
                    </a:lnTo>
                    <a:lnTo>
                      <a:pt x="4404" y="1389"/>
                    </a:lnTo>
                    <a:lnTo>
                      <a:pt x="4404" y="695"/>
                    </a:lnTo>
                    <a:lnTo>
                      <a:pt x="4823" y="0"/>
                    </a:lnTo>
                    <a:lnTo>
                      <a:pt x="6501" y="0"/>
                    </a:lnTo>
                    <a:lnTo>
                      <a:pt x="6501" y="66"/>
                    </a:lnTo>
                    <a:lnTo>
                      <a:pt x="6711" y="132"/>
                    </a:lnTo>
                    <a:lnTo>
                      <a:pt x="6711" y="165"/>
                    </a:lnTo>
                    <a:lnTo>
                      <a:pt x="6711" y="232"/>
                    </a:lnTo>
                    <a:lnTo>
                      <a:pt x="9227" y="232"/>
                    </a:lnTo>
                    <a:lnTo>
                      <a:pt x="11534" y="198"/>
                    </a:lnTo>
                    <a:lnTo>
                      <a:pt x="13421" y="198"/>
                    </a:lnTo>
                    <a:lnTo>
                      <a:pt x="15309" y="198"/>
                    </a:lnTo>
                    <a:lnTo>
                      <a:pt x="16986" y="198"/>
                    </a:lnTo>
                    <a:lnTo>
                      <a:pt x="18454" y="198"/>
                    </a:lnTo>
                    <a:lnTo>
                      <a:pt x="20132" y="198"/>
                    </a:lnTo>
                    <a:lnTo>
                      <a:pt x="21600" y="198"/>
                    </a:lnTo>
                    <a:close/>
                    <a:moveTo>
                      <a:pt x="21600" y="19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66" name="Freeform 56"/>
              <p:cNvSpPr>
                <a:spLocks/>
              </p:cNvSpPr>
              <p:nvPr/>
            </p:nvSpPr>
            <p:spPr bwMode="gray">
              <a:xfrm>
                <a:off x="228" y="71"/>
                <a:ext cx="12" cy="78"/>
              </a:xfrm>
              <a:custGeom>
                <a:avLst/>
                <a:gdLst>
                  <a:gd name="T0" fmla="*/ 14049 w 21600"/>
                  <a:gd name="T1" fmla="*/ 4956 h 21600"/>
                  <a:gd name="T2" fmla="*/ 14224 w 21600"/>
                  <a:gd name="T3" fmla="*/ 3552 h 21600"/>
                  <a:gd name="T4" fmla="*/ 15278 w 21600"/>
                  <a:gd name="T5" fmla="*/ 3123 h 21600"/>
                  <a:gd name="T6" fmla="*/ 16507 w 21600"/>
                  <a:gd name="T7" fmla="*/ 19308 h 21600"/>
                  <a:gd name="T8" fmla="*/ 16156 w 21600"/>
                  <a:gd name="T9" fmla="*/ 20769 h 21600"/>
                  <a:gd name="T10" fmla="*/ 14927 w 21600"/>
                  <a:gd name="T11" fmla="*/ 20912 h 21600"/>
                  <a:gd name="T12" fmla="*/ 14224 w 21600"/>
                  <a:gd name="T13" fmla="*/ 20884 h 21600"/>
                  <a:gd name="T14" fmla="*/ 14576 w 21600"/>
                  <a:gd name="T15" fmla="*/ 19967 h 21600"/>
                  <a:gd name="T16" fmla="*/ 14751 w 21600"/>
                  <a:gd name="T17" fmla="*/ 16529 h 21600"/>
                  <a:gd name="T18" fmla="*/ 14400 w 21600"/>
                  <a:gd name="T19" fmla="*/ 12719 h 21600"/>
                  <a:gd name="T20" fmla="*/ 14049 w 21600"/>
                  <a:gd name="T21" fmla="*/ 8480 h 21600"/>
                  <a:gd name="T22" fmla="*/ 12117 w 21600"/>
                  <a:gd name="T23" fmla="*/ 17503 h 21600"/>
                  <a:gd name="T24" fmla="*/ 11941 w 21600"/>
                  <a:gd name="T25" fmla="*/ 20769 h 21600"/>
                  <a:gd name="T26" fmla="*/ 11239 w 21600"/>
                  <a:gd name="T27" fmla="*/ 21056 h 21600"/>
                  <a:gd name="T28" fmla="*/ 10185 w 21600"/>
                  <a:gd name="T29" fmla="*/ 21027 h 21600"/>
                  <a:gd name="T30" fmla="*/ 10185 w 21600"/>
                  <a:gd name="T31" fmla="*/ 20569 h 21600"/>
                  <a:gd name="T32" fmla="*/ 10537 w 21600"/>
                  <a:gd name="T33" fmla="*/ 17102 h 21600"/>
                  <a:gd name="T34" fmla="*/ 10361 w 21600"/>
                  <a:gd name="T35" fmla="*/ 14352 h 21600"/>
                  <a:gd name="T36" fmla="*/ 9834 w 21600"/>
                  <a:gd name="T37" fmla="*/ 10284 h 21600"/>
                  <a:gd name="T38" fmla="*/ 0 w 21600"/>
                  <a:gd name="T39" fmla="*/ 21600 h 21600"/>
                  <a:gd name="T40" fmla="*/ 11590 w 21600"/>
                  <a:gd name="T41" fmla="*/ 21485 h 21600"/>
                  <a:gd name="T42" fmla="*/ 18439 w 21600"/>
                  <a:gd name="T43" fmla="*/ 21314 h 21600"/>
                  <a:gd name="T44" fmla="*/ 17210 w 21600"/>
                  <a:gd name="T45" fmla="*/ 3638 h 21600"/>
                  <a:gd name="T46" fmla="*/ 18966 w 21600"/>
                  <a:gd name="T47" fmla="*/ 2636 h 21600"/>
                  <a:gd name="T48" fmla="*/ 21249 w 21600"/>
                  <a:gd name="T49" fmla="*/ 1461 h 21600"/>
                  <a:gd name="T50" fmla="*/ 21600 w 21600"/>
                  <a:gd name="T51" fmla="*/ 802 h 21600"/>
                  <a:gd name="T52" fmla="*/ 21073 w 21600"/>
                  <a:gd name="T53" fmla="*/ 229 h 21600"/>
                  <a:gd name="T54" fmla="*/ 11766 w 21600"/>
                  <a:gd name="T55" fmla="*/ 86 h 21600"/>
                  <a:gd name="T56" fmla="*/ 2107 w 21600"/>
                  <a:gd name="T57" fmla="*/ 29 h 21600"/>
                  <a:gd name="T58" fmla="*/ 4917 w 21600"/>
                  <a:gd name="T59" fmla="*/ 258 h 21600"/>
                  <a:gd name="T60" fmla="*/ 14576 w 21600"/>
                  <a:gd name="T61" fmla="*/ 286 h 21600"/>
                  <a:gd name="T62" fmla="*/ 19844 w 21600"/>
                  <a:gd name="T63" fmla="*/ 802 h 21600"/>
                  <a:gd name="T64" fmla="*/ 15278 w 21600"/>
                  <a:gd name="T65" fmla="*/ 1289 h 21600"/>
                  <a:gd name="T66" fmla="*/ 5093 w 21600"/>
                  <a:gd name="T67" fmla="*/ 1289 h 21600"/>
                  <a:gd name="T68" fmla="*/ 11415 w 21600"/>
                  <a:gd name="T69" fmla="*/ 2005 h 21600"/>
                  <a:gd name="T70" fmla="*/ 14400 w 21600"/>
                  <a:gd name="T71" fmla="*/ 1518 h 21600"/>
                  <a:gd name="T72" fmla="*/ 20020 w 21600"/>
                  <a:gd name="T73" fmla="*/ 1518 h 21600"/>
                  <a:gd name="T74" fmla="*/ 17034 w 21600"/>
                  <a:gd name="T75" fmla="*/ 2521 h 21600"/>
                  <a:gd name="T76" fmla="*/ 14049 w 21600"/>
                  <a:gd name="T77" fmla="*/ 2521 h 21600"/>
                  <a:gd name="T78" fmla="*/ 10888 w 21600"/>
                  <a:gd name="T79" fmla="*/ 2521 h 21600"/>
                  <a:gd name="T80" fmla="*/ 11415 w 21600"/>
                  <a:gd name="T81" fmla="*/ 2005 h 21600"/>
                  <a:gd name="T82" fmla="*/ 4917 w 21600"/>
                  <a:gd name="T83" fmla="*/ 2779 h 21600"/>
                  <a:gd name="T84" fmla="*/ 13522 w 21600"/>
                  <a:gd name="T85" fmla="*/ 2779 h 21600"/>
                  <a:gd name="T86" fmla="*/ 16683 w 21600"/>
                  <a:gd name="T87" fmla="*/ 2951 h 21600"/>
                  <a:gd name="T88" fmla="*/ 15278 w 21600"/>
                  <a:gd name="T89" fmla="*/ 3094 h 21600"/>
                  <a:gd name="T90" fmla="*/ 8956 w 21600"/>
                  <a:gd name="T91" fmla="*/ 3094 h 21600"/>
                  <a:gd name="T92" fmla="*/ 2459 w 21600"/>
                  <a:gd name="T93" fmla="*/ 3065 h 21600"/>
                  <a:gd name="T94" fmla="*/ 9834 w 21600"/>
                  <a:gd name="T95" fmla="*/ 5357 h 21600"/>
                  <a:gd name="T96" fmla="*/ 9483 w 21600"/>
                  <a:gd name="T97" fmla="*/ 4956 h 21600"/>
                  <a:gd name="T98" fmla="*/ 10010 w 21600"/>
                  <a:gd name="T99" fmla="*/ 3294 h 21600"/>
                  <a:gd name="T100" fmla="*/ 11239 w 21600"/>
                  <a:gd name="T101" fmla="*/ 3237 h 21600"/>
                  <a:gd name="T102" fmla="*/ 11415 w 21600"/>
                  <a:gd name="T103" fmla="*/ 5214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00" h="21600">
                    <a:moveTo>
                      <a:pt x="14049" y="5386"/>
                    </a:moveTo>
                    <a:lnTo>
                      <a:pt x="14049" y="5242"/>
                    </a:lnTo>
                    <a:lnTo>
                      <a:pt x="14049" y="5071"/>
                    </a:lnTo>
                    <a:lnTo>
                      <a:pt x="14049" y="4956"/>
                    </a:lnTo>
                    <a:lnTo>
                      <a:pt x="14049" y="4813"/>
                    </a:lnTo>
                    <a:lnTo>
                      <a:pt x="14049" y="4383"/>
                    </a:lnTo>
                    <a:lnTo>
                      <a:pt x="14224" y="3982"/>
                    </a:lnTo>
                    <a:lnTo>
                      <a:pt x="14224" y="3552"/>
                    </a:lnTo>
                    <a:lnTo>
                      <a:pt x="14224" y="3180"/>
                    </a:lnTo>
                    <a:lnTo>
                      <a:pt x="14576" y="3123"/>
                    </a:lnTo>
                    <a:lnTo>
                      <a:pt x="14751" y="3123"/>
                    </a:lnTo>
                    <a:lnTo>
                      <a:pt x="15278" y="3123"/>
                    </a:lnTo>
                    <a:lnTo>
                      <a:pt x="15454" y="3094"/>
                    </a:lnTo>
                    <a:lnTo>
                      <a:pt x="15980" y="12290"/>
                    </a:lnTo>
                    <a:lnTo>
                      <a:pt x="16507" y="17160"/>
                    </a:lnTo>
                    <a:lnTo>
                      <a:pt x="16507" y="19308"/>
                    </a:lnTo>
                    <a:lnTo>
                      <a:pt x="16507" y="20425"/>
                    </a:lnTo>
                    <a:lnTo>
                      <a:pt x="16507" y="20540"/>
                    </a:lnTo>
                    <a:lnTo>
                      <a:pt x="16156" y="20626"/>
                    </a:lnTo>
                    <a:lnTo>
                      <a:pt x="16156" y="20769"/>
                    </a:lnTo>
                    <a:lnTo>
                      <a:pt x="15980" y="20855"/>
                    </a:lnTo>
                    <a:lnTo>
                      <a:pt x="15629" y="20884"/>
                    </a:lnTo>
                    <a:lnTo>
                      <a:pt x="15454" y="20912"/>
                    </a:lnTo>
                    <a:lnTo>
                      <a:pt x="14927" y="20912"/>
                    </a:lnTo>
                    <a:lnTo>
                      <a:pt x="14576" y="20912"/>
                    </a:lnTo>
                    <a:lnTo>
                      <a:pt x="14400" y="20912"/>
                    </a:lnTo>
                    <a:lnTo>
                      <a:pt x="14400" y="20884"/>
                    </a:lnTo>
                    <a:lnTo>
                      <a:pt x="14224" y="20884"/>
                    </a:lnTo>
                    <a:lnTo>
                      <a:pt x="14049" y="20884"/>
                    </a:lnTo>
                    <a:lnTo>
                      <a:pt x="14224" y="20683"/>
                    </a:lnTo>
                    <a:lnTo>
                      <a:pt x="14400" y="20425"/>
                    </a:lnTo>
                    <a:lnTo>
                      <a:pt x="14576" y="19967"/>
                    </a:lnTo>
                    <a:lnTo>
                      <a:pt x="14927" y="19108"/>
                    </a:lnTo>
                    <a:lnTo>
                      <a:pt x="14751" y="17790"/>
                    </a:lnTo>
                    <a:lnTo>
                      <a:pt x="14751" y="16959"/>
                    </a:lnTo>
                    <a:lnTo>
                      <a:pt x="14751" y="16529"/>
                    </a:lnTo>
                    <a:lnTo>
                      <a:pt x="14576" y="16300"/>
                    </a:lnTo>
                    <a:lnTo>
                      <a:pt x="14751" y="15555"/>
                    </a:lnTo>
                    <a:lnTo>
                      <a:pt x="14751" y="14238"/>
                    </a:lnTo>
                    <a:lnTo>
                      <a:pt x="14400" y="12719"/>
                    </a:lnTo>
                    <a:lnTo>
                      <a:pt x="14224" y="11258"/>
                    </a:lnTo>
                    <a:lnTo>
                      <a:pt x="14224" y="11001"/>
                    </a:lnTo>
                    <a:lnTo>
                      <a:pt x="14224" y="10198"/>
                    </a:lnTo>
                    <a:lnTo>
                      <a:pt x="14049" y="8480"/>
                    </a:lnTo>
                    <a:lnTo>
                      <a:pt x="14049" y="5386"/>
                    </a:lnTo>
                    <a:lnTo>
                      <a:pt x="11415" y="5214"/>
                    </a:lnTo>
                    <a:lnTo>
                      <a:pt x="11941" y="13206"/>
                    </a:lnTo>
                    <a:lnTo>
                      <a:pt x="12117" y="17503"/>
                    </a:lnTo>
                    <a:lnTo>
                      <a:pt x="12293" y="19509"/>
                    </a:lnTo>
                    <a:lnTo>
                      <a:pt x="12117" y="20569"/>
                    </a:lnTo>
                    <a:lnTo>
                      <a:pt x="11941" y="20655"/>
                    </a:lnTo>
                    <a:lnTo>
                      <a:pt x="11941" y="20769"/>
                    </a:lnTo>
                    <a:lnTo>
                      <a:pt x="11941" y="20884"/>
                    </a:lnTo>
                    <a:lnTo>
                      <a:pt x="11766" y="20998"/>
                    </a:lnTo>
                    <a:lnTo>
                      <a:pt x="11415" y="21027"/>
                    </a:lnTo>
                    <a:lnTo>
                      <a:pt x="11239" y="21056"/>
                    </a:lnTo>
                    <a:lnTo>
                      <a:pt x="10712" y="21056"/>
                    </a:lnTo>
                    <a:lnTo>
                      <a:pt x="10361" y="21056"/>
                    </a:lnTo>
                    <a:lnTo>
                      <a:pt x="10185" y="21027"/>
                    </a:lnTo>
                    <a:lnTo>
                      <a:pt x="10010" y="21027"/>
                    </a:lnTo>
                    <a:lnTo>
                      <a:pt x="9834" y="21027"/>
                    </a:lnTo>
                    <a:lnTo>
                      <a:pt x="10010" y="20827"/>
                    </a:lnTo>
                    <a:lnTo>
                      <a:pt x="10185" y="20569"/>
                    </a:lnTo>
                    <a:lnTo>
                      <a:pt x="10361" y="20110"/>
                    </a:lnTo>
                    <a:lnTo>
                      <a:pt x="10537" y="19222"/>
                    </a:lnTo>
                    <a:lnTo>
                      <a:pt x="10537" y="17933"/>
                    </a:lnTo>
                    <a:lnTo>
                      <a:pt x="10537" y="17102"/>
                    </a:lnTo>
                    <a:lnTo>
                      <a:pt x="10361" y="16673"/>
                    </a:lnTo>
                    <a:lnTo>
                      <a:pt x="10361" y="16444"/>
                    </a:lnTo>
                    <a:lnTo>
                      <a:pt x="10361" y="15670"/>
                    </a:lnTo>
                    <a:lnTo>
                      <a:pt x="10361" y="14352"/>
                    </a:lnTo>
                    <a:lnTo>
                      <a:pt x="10185" y="12834"/>
                    </a:lnTo>
                    <a:lnTo>
                      <a:pt x="10010" y="11402"/>
                    </a:lnTo>
                    <a:lnTo>
                      <a:pt x="9834" y="11086"/>
                    </a:lnTo>
                    <a:lnTo>
                      <a:pt x="9834" y="10284"/>
                    </a:lnTo>
                    <a:lnTo>
                      <a:pt x="9834" y="8508"/>
                    </a:lnTo>
                    <a:lnTo>
                      <a:pt x="9834" y="5357"/>
                    </a:lnTo>
                    <a:lnTo>
                      <a:pt x="0" y="5328"/>
                    </a:lnTo>
                    <a:lnTo>
                      <a:pt x="0" y="21600"/>
                    </a:lnTo>
                    <a:lnTo>
                      <a:pt x="3161" y="21600"/>
                    </a:lnTo>
                    <a:lnTo>
                      <a:pt x="6146" y="21543"/>
                    </a:lnTo>
                    <a:lnTo>
                      <a:pt x="8956" y="21514"/>
                    </a:lnTo>
                    <a:lnTo>
                      <a:pt x="11590" y="21485"/>
                    </a:lnTo>
                    <a:lnTo>
                      <a:pt x="13873" y="21457"/>
                    </a:lnTo>
                    <a:lnTo>
                      <a:pt x="15805" y="21428"/>
                    </a:lnTo>
                    <a:lnTo>
                      <a:pt x="17385" y="21342"/>
                    </a:lnTo>
                    <a:lnTo>
                      <a:pt x="18439" y="21314"/>
                    </a:lnTo>
                    <a:lnTo>
                      <a:pt x="18615" y="18879"/>
                    </a:lnTo>
                    <a:lnTo>
                      <a:pt x="18790" y="14180"/>
                    </a:lnTo>
                    <a:lnTo>
                      <a:pt x="18615" y="8680"/>
                    </a:lnTo>
                    <a:lnTo>
                      <a:pt x="17210" y="3638"/>
                    </a:lnTo>
                    <a:lnTo>
                      <a:pt x="17385" y="3380"/>
                    </a:lnTo>
                    <a:lnTo>
                      <a:pt x="18263" y="3094"/>
                    </a:lnTo>
                    <a:lnTo>
                      <a:pt x="18790" y="2836"/>
                    </a:lnTo>
                    <a:lnTo>
                      <a:pt x="18966" y="2636"/>
                    </a:lnTo>
                    <a:lnTo>
                      <a:pt x="19317" y="2349"/>
                    </a:lnTo>
                    <a:lnTo>
                      <a:pt x="20020" y="2034"/>
                    </a:lnTo>
                    <a:lnTo>
                      <a:pt x="20898" y="1747"/>
                    </a:lnTo>
                    <a:lnTo>
                      <a:pt x="21249" y="1461"/>
                    </a:lnTo>
                    <a:lnTo>
                      <a:pt x="21424" y="1260"/>
                    </a:lnTo>
                    <a:lnTo>
                      <a:pt x="21424" y="1060"/>
                    </a:lnTo>
                    <a:lnTo>
                      <a:pt x="21600" y="917"/>
                    </a:lnTo>
                    <a:lnTo>
                      <a:pt x="21600" y="802"/>
                    </a:lnTo>
                    <a:lnTo>
                      <a:pt x="21600" y="716"/>
                    </a:lnTo>
                    <a:lnTo>
                      <a:pt x="21600" y="516"/>
                    </a:lnTo>
                    <a:lnTo>
                      <a:pt x="21424" y="372"/>
                    </a:lnTo>
                    <a:lnTo>
                      <a:pt x="21073" y="229"/>
                    </a:lnTo>
                    <a:lnTo>
                      <a:pt x="21073" y="57"/>
                    </a:lnTo>
                    <a:lnTo>
                      <a:pt x="17561" y="86"/>
                    </a:lnTo>
                    <a:lnTo>
                      <a:pt x="14576" y="86"/>
                    </a:lnTo>
                    <a:lnTo>
                      <a:pt x="11766" y="86"/>
                    </a:lnTo>
                    <a:lnTo>
                      <a:pt x="9132" y="86"/>
                    </a:lnTo>
                    <a:lnTo>
                      <a:pt x="6498" y="57"/>
                    </a:lnTo>
                    <a:lnTo>
                      <a:pt x="4215" y="57"/>
                    </a:lnTo>
                    <a:lnTo>
                      <a:pt x="2107" y="29"/>
                    </a:lnTo>
                    <a:lnTo>
                      <a:pt x="0" y="0"/>
                    </a:lnTo>
                    <a:lnTo>
                      <a:pt x="0" y="258"/>
                    </a:lnTo>
                    <a:lnTo>
                      <a:pt x="2459" y="258"/>
                    </a:lnTo>
                    <a:lnTo>
                      <a:pt x="4917" y="258"/>
                    </a:lnTo>
                    <a:lnTo>
                      <a:pt x="7376" y="258"/>
                    </a:lnTo>
                    <a:lnTo>
                      <a:pt x="9834" y="258"/>
                    </a:lnTo>
                    <a:lnTo>
                      <a:pt x="12117" y="286"/>
                    </a:lnTo>
                    <a:lnTo>
                      <a:pt x="14576" y="286"/>
                    </a:lnTo>
                    <a:lnTo>
                      <a:pt x="17034" y="286"/>
                    </a:lnTo>
                    <a:lnTo>
                      <a:pt x="19493" y="286"/>
                    </a:lnTo>
                    <a:lnTo>
                      <a:pt x="19668" y="516"/>
                    </a:lnTo>
                    <a:lnTo>
                      <a:pt x="19844" y="802"/>
                    </a:lnTo>
                    <a:lnTo>
                      <a:pt x="20020" y="1031"/>
                    </a:lnTo>
                    <a:lnTo>
                      <a:pt x="20195" y="1289"/>
                    </a:lnTo>
                    <a:lnTo>
                      <a:pt x="17912" y="1289"/>
                    </a:lnTo>
                    <a:lnTo>
                      <a:pt x="15278" y="1289"/>
                    </a:lnTo>
                    <a:lnTo>
                      <a:pt x="12820" y="1289"/>
                    </a:lnTo>
                    <a:lnTo>
                      <a:pt x="10185" y="1289"/>
                    </a:lnTo>
                    <a:lnTo>
                      <a:pt x="7727" y="1289"/>
                    </a:lnTo>
                    <a:lnTo>
                      <a:pt x="5093" y="1289"/>
                    </a:lnTo>
                    <a:lnTo>
                      <a:pt x="2634" y="1289"/>
                    </a:lnTo>
                    <a:lnTo>
                      <a:pt x="0" y="1289"/>
                    </a:lnTo>
                    <a:lnTo>
                      <a:pt x="0" y="1977"/>
                    </a:lnTo>
                    <a:lnTo>
                      <a:pt x="11415" y="2005"/>
                    </a:lnTo>
                    <a:lnTo>
                      <a:pt x="11766" y="1891"/>
                    </a:lnTo>
                    <a:lnTo>
                      <a:pt x="12644" y="1747"/>
                    </a:lnTo>
                    <a:lnTo>
                      <a:pt x="13346" y="1662"/>
                    </a:lnTo>
                    <a:lnTo>
                      <a:pt x="14400" y="1518"/>
                    </a:lnTo>
                    <a:lnTo>
                      <a:pt x="15805" y="1518"/>
                    </a:lnTo>
                    <a:lnTo>
                      <a:pt x="17210" y="1518"/>
                    </a:lnTo>
                    <a:lnTo>
                      <a:pt x="18615" y="1518"/>
                    </a:lnTo>
                    <a:lnTo>
                      <a:pt x="20020" y="1518"/>
                    </a:lnTo>
                    <a:lnTo>
                      <a:pt x="18615" y="1747"/>
                    </a:lnTo>
                    <a:lnTo>
                      <a:pt x="17561" y="2005"/>
                    </a:lnTo>
                    <a:lnTo>
                      <a:pt x="17034" y="2234"/>
                    </a:lnTo>
                    <a:lnTo>
                      <a:pt x="17034" y="2521"/>
                    </a:lnTo>
                    <a:lnTo>
                      <a:pt x="16156" y="2521"/>
                    </a:lnTo>
                    <a:lnTo>
                      <a:pt x="15629" y="2521"/>
                    </a:lnTo>
                    <a:lnTo>
                      <a:pt x="14751" y="2521"/>
                    </a:lnTo>
                    <a:lnTo>
                      <a:pt x="14049" y="2521"/>
                    </a:lnTo>
                    <a:lnTo>
                      <a:pt x="13171" y="2521"/>
                    </a:lnTo>
                    <a:lnTo>
                      <a:pt x="12644" y="2521"/>
                    </a:lnTo>
                    <a:lnTo>
                      <a:pt x="11766" y="2521"/>
                    </a:lnTo>
                    <a:lnTo>
                      <a:pt x="10888" y="2521"/>
                    </a:lnTo>
                    <a:lnTo>
                      <a:pt x="10888" y="2378"/>
                    </a:lnTo>
                    <a:lnTo>
                      <a:pt x="10888" y="2234"/>
                    </a:lnTo>
                    <a:lnTo>
                      <a:pt x="11239" y="2149"/>
                    </a:lnTo>
                    <a:lnTo>
                      <a:pt x="11415" y="2005"/>
                    </a:lnTo>
                    <a:lnTo>
                      <a:pt x="0" y="1977"/>
                    </a:lnTo>
                    <a:lnTo>
                      <a:pt x="0" y="2779"/>
                    </a:lnTo>
                    <a:lnTo>
                      <a:pt x="2459" y="2779"/>
                    </a:lnTo>
                    <a:lnTo>
                      <a:pt x="4917" y="2779"/>
                    </a:lnTo>
                    <a:lnTo>
                      <a:pt x="7376" y="2779"/>
                    </a:lnTo>
                    <a:lnTo>
                      <a:pt x="9483" y="2779"/>
                    </a:lnTo>
                    <a:lnTo>
                      <a:pt x="11590" y="2779"/>
                    </a:lnTo>
                    <a:lnTo>
                      <a:pt x="13522" y="2779"/>
                    </a:lnTo>
                    <a:lnTo>
                      <a:pt x="15278" y="2807"/>
                    </a:lnTo>
                    <a:lnTo>
                      <a:pt x="16683" y="2807"/>
                    </a:lnTo>
                    <a:lnTo>
                      <a:pt x="16683" y="2865"/>
                    </a:lnTo>
                    <a:lnTo>
                      <a:pt x="16683" y="2951"/>
                    </a:lnTo>
                    <a:lnTo>
                      <a:pt x="16683" y="3008"/>
                    </a:lnTo>
                    <a:lnTo>
                      <a:pt x="16683" y="3065"/>
                    </a:lnTo>
                    <a:lnTo>
                      <a:pt x="15805" y="3065"/>
                    </a:lnTo>
                    <a:lnTo>
                      <a:pt x="15278" y="3094"/>
                    </a:lnTo>
                    <a:lnTo>
                      <a:pt x="14400" y="3094"/>
                    </a:lnTo>
                    <a:lnTo>
                      <a:pt x="13522" y="3123"/>
                    </a:lnTo>
                    <a:lnTo>
                      <a:pt x="11239" y="3123"/>
                    </a:lnTo>
                    <a:lnTo>
                      <a:pt x="8956" y="3094"/>
                    </a:lnTo>
                    <a:lnTo>
                      <a:pt x="7200" y="3094"/>
                    </a:lnTo>
                    <a:lnTo>
                      <a:pt x="5444" y="3094"/>
                    </a:lnTo>
                    <a:lnTo>
                      <a:pt x="3863" y="3065"/>
                    </a:lnTo>
                    <a:lnTo>
                      <a:pt x="2459" y="3065"/>
                    </a:lnTo>
                    <a:lnTo>
                      <a:pt x="1229" y="3065"/>
                    </a:lnTo>
                    <a:lnTo>
                      <a:pt x="0" y="3065"/>
                    </a:lnTo>
                    <a:lnTo>
                      <a:pt x="0" y="5328"/>
                    </a:lnTo>
                    <a:lnTo>
                      <a:pt x="9834" y="5357"/>
                    </a:lnTo>
                    <a:lnTo>
                      <a:pt x="9834" y="5242"/>
                    </a:lnTo>
                    <a:lnTo>
                      <a:pt x="9834" y="5156"/>
                    </a:lnTo>
                    <a:lnTo>
                      <a:pt x="9834" y="5042"/>
                    </a:lnTo>
                    <a:lnTo>
                      <a:pt x="9483" y="4956"/>
                    </a:lnTo>
                    <a:lnTo>
                      <a:pt x="9834" y="4526"/>
                    </a:lnTo>
                    <a:lnTo>
                      <a:pt x="9834" y="4125"/>
                    </a:lnTo>
                    <a:lnTo>
                      <a:pt x="9834" y="3695"/>
                    </a:lnTo>
                    <a:lnTo>
                      <a:pt x="10010" y="3294"/>
                    </a:lnTo>
                    <a:lnTo>
                      <a:pt x="10185" y="3266"/>
                    </a:lnTo>
                    <a:lnTo>
                      <a:pt x="10537" y="3266"/>
                    </a:lnTo>
                    <a:lnTo>
                      <a:pt x="10712" y="3266"/>
                    </a:lnTo>
                    <a:lnTo>
                      <a:pt x="11239" y="3237"/>
                    </a:lnTo>
                    <a:lnTo>
                      <a:pt x="11239" y="3753"/>
                    </a:lnTo>
                    <a:lnTo>
                      <a:pt x="11239" y="4268"/>
                    </a:lnTo>
                    <a:lnTo>
                      <a:pt x="11239" y="4727"/>
                    </a:lnTo>
                    <a:lnTo>
                      <a:pt x="11415" y="5214"/>
                    </a:lnTo>
                    <a:lnTo>
                      <a:pt x="14049" y="5386"/>
                    </a:lnTo>
                    <a:close/>
                    <a:moveTo>
                      <a:pt x="14049" y="5386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67" name="Freeform 57"/>
              <p:cNvSpPr>
                <a:spLocks/>
              </p:cNvSpPr>
              <p:nvPr/>
            </p:nvSpPr>
            <p:spPr bwMode="gray">
              <a:xfrm>
                <a:off x="216" y="71"/>
                <a:ext cx="12" cy="10"/>
              </a:xfrm>
              <a:custGeom>
                <a:avLst/>
                <a:gdLst>
                  <a:gd name="T0" fmla="*/ 188 w 21600"/>
                  <a:gd name="T1" fmla="*/ 1925 h 21600"/>
                  <a:gd name="T2" fmla="*/ 0 w 21600"/>
                  <a:gd name="T3" fmla="*/ 4919 h 21600"/>
                  <a:gd name="T4" fmla="*/ 2442 w 21600"/>
                  <a:gd name="T5" fmla="*/ 6630 h 21600"/>
                  <a:gd name="T6" fmla="*/ 2254 w 21600"/>
                  <a:gd name="T7" fmla="*/ 8127 h 21600"/>
                  <a:gd name="T8" fmla="*/ 2254 w 21600"/>
                  <a:gd name="T9" fmla="*/ 9624 h 21600"/>
                  <a:gd name="T10" fmla="*/ 7137 w 21600"/>
                  <a:gd name="T11" fmla="*/ 9624 h 21600"/>
                  <a:gd name="T12" fmla="*/ 11833 w 21600"/>
                  <a:gd name="T13" fmla="*/ 9624 h 21600"/>
                  <a:gd name="T14" fmla="*/ 16904 w 21600"/>
                  <a:gd name="T15" fmla="*/ 9624 h 21600"/>
                  <a:gd name="T16" fmla="*/ 21600 w 21600"/>
                  <a:gd name="T17" fmla="*/ 9624 h 21600"/>
                  <a:gd name="T18" fmla="*/ 2817 w 21600"/>
                  <a:gd name="T19" fmla="*/ 14329 h 21600"/>
                  <a:gd name="T20" fmla="*/ 5071 w 21600"/>
                  <a:gd name="T21" fmla="*/ 17109 h 21600"/>
                  <a:gd name="T22" fmla="*/ 6574 w 21600"/>
                  <a:gd name="T23" fmla="*/ 20103 h 21600"/>
                  <a:gd name="T24" fmla="*/ 6574 w 21600"/>
                  <a:gd name="T25" fmla="*/ 20958 h 21600"/>
                  <a:gd name="T26" fmla="*/ 6574 w 21600"/>
                  <a:gd name="T27" fmla="*/ 21600 h 21600"/>
                  <a:gd name="T28" fmla="*/ 8077 w 21600"/>
                  <a:gd name="T29" fmla="*/ 21386 h 21600"/>
                  <a:gd name="T30" fmla="*/ 8077 w 21600"/>
                  <a:gd name="T31" fmla="*/ 20958 h 21600"/>
                  <a:gd name="T32" fmla="*/ 8828 w 21600"/>
                  <a:gd name="T33" fmla="*/ 20745 h 21600"/>
                  <a:gd name="T34" fmla="*/ 11270 w 21600"/>
                  <a:gd name="T35" fmla="*/ 20745 h 21600"/>
                  <a:gd name="T36" fmla="*/ 15026 w 21600"/>
                  <a:gd name="T37" fmla="*/ 20745 h 21600"/>
                  <a:gd name="T38" fmla="*/ 19346 w 21600"/>
                  <a:gd name="T39" fmla="*/ 20745 h 21600"/>
                  <a:gd name="T40" fmla="*/ 21600 w 21600"/>
                  <a:gd name="T41" fmla="*/ 14756 h 21600"/>
                  <a:gd name="T42" fmla="*/ 1878 w 21600"/>
                  <a:gd name="T43" fmla="*/ 13259 h 21600"/>
                  <a:gd name="T44" fmla="*/ 751 w 21600"/>
                  <a:gd name="T45" fmla="*/ 11549 h 21600"/>
                  <a:gd name="T46" fmla="*/ 188 w 21600"/>
                  <a:gd name="T47" fmla="*/ 9624 h 21600"/>
                  <a:gd name="T48" fmla="*/ 0 w 21600"/>
                  <a:gd name="T49" fmla="*/ 7699 h 21600"/>
                  <a:gd name="T50" fmla="*/ 2442 w 21600"/>
                  <a:gd name="T51" fmla="*/ 6630 h 21600"/>
                  <a:gd name="T52" fmla="*/ 2442 w 21600"/>
                  <a:gd name="T53" fmla="*/ 4277 h 21600"/>
                  <a:gd name="T54" fmla="*/ 2630 w 21600"/>
                  <a:gd name="T55" fmla="*/ 1925 h 21600"/>
                  <a:gd name="T56" fmla="*/ 7325 w 21600"/>
                  <a:gd name="T57" fmla="*/ 1925 h 21600"/>
                  <a:gd name="T58" fmla="*/ 12209 w 21600"/>
                  <a:gd name="T59" fmla="*/ 1925 h 21600"/>
                  <a:gd name="T60" fmla="*/ 16904 w 21600"/>
                  <a:gd name="T61" fmla="*/ 1925 h 21600"/>
                  <a:gd name="T62" fmla="*/ 21600 w 21600"/>
                  <a:gd name="T63" fmla="*/ 1925 h 21600"/>
                  <a:gd name="T64" fmla="*/ 939 w 21600"/>
                  <a:gd name="T65" fmla="*/ 42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600" h="21600">
                    <a:moveTo>
                      <a:pt x="939" y="428"/>
                    </a:moveTo>
                    <a:lnTo>
                      <a:pt x="188" y="1925"/>
                    </a:lnTo>
                    <a:lnTo>
                      <a:pt x="0" y="3422"/>
                    </a:lnTo>
                    <a:lnTo>
                      <a:pt x="0" y="4919"/>
                    </a:lnTo>
                    <a:lnTo>
                      <a:pt x="0" y="6630"/>
                    </a:lnTo>
                    <a:lnTo>
                      <a:pt x="2442" y="6630"/>
                    </a:lnTo>
                    <a:lnTo>
                      <a:pt x="2254" y="7485"/>
                    </a:lnTo>
                    <a:lnTo>
                      <a:pt x="2254" y="8127"/>
                    </a:lnTo>
                    <a:lnTo>
                      <a:pt x="2254" y="8768"/>
                    </a:lnTo>
                    <a:lnTo>
                      <a:pt x="2254" y="9624"/>
                    </a:lnTo>
                    <a:lnTo>
                      <a:pt x="4508" y="9624"/>
                    </a:lnTo>
                    <a:lnTo>
                      <a:pt x="7137" y="9624"/>
                    </a:lnTo>
                    <a:lnTo>
                      <a:pt x="9579" y="9624"/>
                    </a:lnTo>
                    <a:lnTo>
                      <a:pt x="11833" y="9624"/>
                    </a:lnTo>
                    <a:lnTo>
                      <a:pt x="14275" y="9624"/>
                    </a:lnTo>
                    <a:lnTo>
                      <a:pt x="16904" y="9624"/>
                    </a:lnTo>
                    <a:lnTo>
                      <a:pt x="19346" y="9624"/>
                    </a:lnTo>
                    <a:lnTo>
                      <a:pt x="21600" y="9624"/>
                    </a:lnTo>
                    <a:lnTo>
                      <a:pt x="21600" y="14756"/>
                    </a:lnTo>
                    <a:lnTo>
                      <a:pt x="2817" y="14329"/>
                    </a:lnTo>
                    <a:lnTo>
                      <a:pt x="3944" y="15612"/>
                    </a:lnTo>
                    <a:lnTo>
                      <a:pt x="5071" y="17109"/>
                    </a:lnTo>
                    <a:lnTo>
                      <a:pt x="5823" y="18392"/>
                    </a:lnTo>
                    <a:lnTo>
                      <a:pt x="6574" y="20103"/>
                    </a:lnTo>
                    <a:lnTo>
                      <a:pt x="6574" y="20531"/>
                    </a:lnTo>
                    <a:lnTo>
                      <a:pt x="6574" y="20958"/>
                    </a:lnTo>
                    <a:lnTo>
                      <a:pt x="6574" y="21172"/>
                    </a:lnTo>
                    <a:lnTo>
                      <a:pt x="6574" y="21600"/>
                    </a:lnTo>
                    <a:lnTo>
                      <a:pt x="8077" y="21600"/>
                    </a:lnTo>
                    <a:lnTo>
                      <a:pt x="8077" y="21386"/>
                    </a:lnTo>
                    <a:lnTo>
                      <a:pt x="8077" y="21172"/>
                    </a:lnTo>
                    <a:lnTo>
                      <a:pt x="8077" y="20958"/>
                    </a:lnTo>
                    <a:lnTo>
                      <a:pt x="8077" y="20745"/>
                    </a:lnTo>
                    <a:lnTo>
                      <a:pt x="8828" y="20745"/>
                    </a:lnTo>
                    <a:lnTo>
                      <a:pt x="9955" y="20745"/>
                    </a:lnTo>
                    <a:lnTo>
                      <a:pt x="11270" y="20745"/>
                    </a:lnTo>
                    <a:lnTo>
                      <a:pt x="12960" y="20745"/>
                    </a:lnTo>
                    <a:lnTo>
                      <a:pt x="15026" y="20745"/>
                    </a:lnTo>
                    <a:lnTo>
                      <a:pt x="17092" y="20745"/>
                    </a:lnTo>
                    <a:lnTo>
                      <a:pt x="19346" y="20745"/>
                    </a:lnTo>
                    <a:lnTo>
                      <a:pt x="21600" y="20745"/>
                    </a:lnTo>
                    <a:lnTo>
                      <a:pt x="21600" y="14756"/>
                    </a:lnTo>
                    <a:lnTo>
                      <a:pt x="2817" y="14329"/>
                    </a:lnTo>
                    <a:lnTo>
                      <a:pt x="1878" y="13259"/>
                    </a:lnTo>
                    <a:lnTo>
                      <a:pt x="1315" y="12618"/>
                    </a:lnTo>
                    <a:lnTo>
                      <a:pt x="751" y="11549"/>
                    </a:lnTo>
                    <a:lnTo>
                      <a:pt x="188" y="10693"/>
                    </a:lnTo>
                    <a:lnTo>
                      <a:pt x="188" y="9624"/>
                    </a:lnTo>
                    <a:lnTo>
                      <a:pt x="188" y="8554"/>
                    </a:lnTo>
                    <a:lnTo>
                      <a:pt x="0" y="7699"/>
                    </a:lnTo>
                    <a:lnTo>
                      <a:pt x="0" y="6630"/>
                    </a:lnTo>
                    <a:lnTo>
                      <a:pt x="2442" y="6630"/>
                    </a:lnTo>
                    <a:lnTo>
                      <a:pt x="2442" y="5347"/>
                    </a:lnTo>
                    <a:lnTo>
                      <a:pt x="2442" y="4277"/>
                    </a:lnTo>
                    <a:lnTo>
                      <a:pt x="2442" y="3208"/>
                    </a:lnTo>
                    <a:lnTo>
                      <a:pt x="2630" y="1925"/>
                    </a:lnTo>
                    <a:lnTo>
                      <a:pt x="5071" y="1925"/>
                    </a:lnTo>
                    <a:lnTo>
                      <a:pt x="7325" y="1925"/>
                    </a:lnTo>
                    <a:lnTo>
                      <a:pt x="9767" y="1925"/>
                    </a:lnTo>
                    <a:lnTo>
                      <a:pt x="12209" y="1925"/>
                    </a:lnTo>
                    <a:lnTo>
                      <a:pt x="14463" y="1925"/>
                    </a:lnTo>
                    <a:lnTo>
                      <a:pt x="16904" y="1925"/>
                    </a:lnTo>
                    <a:lnTo>
                      <a:pt x="19346" y="1925"/>
                    </a:lnTo>
                    <a:lnTo>
                      <a:pt x="21600" y="1925"/>
                    </a:lnTo>
                    <a:lnTo>
                      <a:pt x="21600" y="0"/>
                    </a:lnTo>
                    <a:lnTo>
                      <a:pt x="939" y="428"/>
                    </a:lnTo>
                    <a:close/>
                    <a:moveTo>
                      <a:pt x="939" y="42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68" name="Freeform 58"/>
              <p:cNvSpPr>
                <a:spLocks/>
              </p:cNvSpPr>
              <p:nvPr/>
            </p:nvSpPr>
            <p:spPr bwMode="gray">
              <a:xfrm>
                <a:off x="217" y="81"/>
                <a:ext cx="11" cy="68"/>
              </a:xfrm>
              <a:custGeom>
                <a:avLst/>
                <a:gdLst>
                  <a:gd name="T0" fmla="*/ 21600 w 21600"/>
                  <a:gd name="T1" fmla="*/ 2812 h 21600"/>
                  <a:gd name="T2" fmla="*/ 7412 w 21600"/>
                  <a:gd name="T3" fmla="*/ 2183 h 21600"/>
                  <a:gd name="T4" fmla="*/ 7412 w 21600"/>
                  <a:gd name="T5" fmla="*/ 1092 h 21600"/>
                  <a:gd name="T6" fmla="*/ 6988 w 21600"/>
                  <a:gd name="T7" fmla="*/ 496 h 21600"/>
                  <a:gd name="T8" fmla="*/ 6353 w 21600"/>
                  <a:gd name="T9" fmla="*/ 496 h 21600"/>
                  <a:gd name="T10" fmla="*/ 5718 w 21600"/>
                  <a:gd name="T11" fmla="*/ 959 h 21600"/>
                  <a:gd name="T12" fmla="*/ 5718 w 21600"/>
                  <a:gd name="T13" fmla="*/ 1952 h 21600"/>
                  <a:gd name="T14" fmla="*/ 5082 w 21600"/>
                  <a:gd name="T15" fmla="*/ 3936 h 21600"/>
                  <a:gd name="T16" fmla="*/ 4235 w 21600"/>
                  <a:gd name="T17" fmla="*/ 8170 h 21600"/>
                  <a:gd name="T18" fmla="*/ 3600 w 21600"/>
                  <a:gd name="T19" fmla="*/ 12107 h 21600"/>
                  <a:gd name="T20" fmla="*/ 3176 w 21600"/>
                  <a:gd name="T21" fmla="*/ 13760 h 21600"/>
                  <a:gd name="T22" fmla="*/ 2541 w 21600"/>
                  <a:gd name="T23" fmla="*/ 16241 h 21600"/>
                  <a:gd name="T24" fmla="*/ 2329 w 21600"/>
                  <a:gd name="T25" fmla="*/ 18491 h 21600"/>
                  <a:gd name="T26" fmla="*/ 2329 w 21600"/>
                  <a:gd name="T27" fmla="*/ 21104 h 21600"/>
                  <a:gd name="T28" fmla="*/ 3600 w 21600"/>
                  <a:gd name="T29" fmla="*/ 21038 h 21600"/>
                  <a:gd name="T30" fmla="*/ 4235 w 21600"/>
                  <a:gd name="T31" fmla="*/ 20674 h 21600"/>
                  <a:gd name="T32" fmla="*/ 4659 w 21600"/>
                  <a:gd name="T33" fmla="*/ 19979 h 21600"/>
                  <a:gd name="T34" fmla="*/ 5506 w 21600"/>
                  <a:gd name="T35" fmla="*/ 13959 h 21600"/>
                  <a:gd name="T36" fmla="*/ 6776 w 21600"/>
                  <a:gd name="T37" fmla="*/ 6913 h 21600"/>
                  <a:gd name="T38" fmla="*/ 7200 w 21600"/>
                  <a:gd name="T39" fmla="*/ 4862 h 21600"/>
                  <a:gd name="T40" fmla="*/ 7200 w 21600"/>
                  <a:gd name="T41" fmla="*/ 3506 h 21600"/>
                  <a:gd name="T42" fmla="*/ 21600 w 21600"/>
                  <a:gd name="T43" fmla="*/ 2812 h 21600"/>
                  <a:gd name="T44" fmla="*/ 17153 w 21600"/>
                  <a:gd name="T45" fmla="*/ 21600 h 21600"/>
                  <a:gd name="T46" fmla="*/ 8894 w 21600"/>
                  <a:gd name="T47" fmla="*/ 21534 h 21600"/>
                  <a:gd name="T48" fmla="*/ 2965 w 21600"/>
                  <a:gd name="T49" fmla="*/ 21435 h 21600"/>
                  <a:gd name="T50" fmla="*/ 0 w 21600"/>
                  <a:gd name="T51" fmla="*/ 21203 h 21600"/>
                  <a:gd name="T52" fmla="*/ 847 w 21600"/>
                  <a:gd name="T53" fmla="*/ 18160 h 21600"/>
                  <a:gd name="T54" fmla="*/ 2329 w 21600"/>
                  <a:gd name="T55" fmla="*/ 11379 h 21600"/>
                  <a:gd name="T56" fmla="*/ 3176 w 21600"/>
                  <a:gd name="T57" fmla="*/ 8137 h 21600"/>
                  <a:gd name="T58" fmla="*/ 3812 w 21600"/>
                  <a:gd name="T59" fmla="*/ 4565 h 21600"/>
                  <a:gd name="T60" fmla="*/ 5506 w 21600"/>
                  <a:gd name="T61" fmla="*/ 2712 h 21600"/>
                  <a:gd name="T62" fmla="*/ 4235 w 21600"/>
                  <a:gd name="T63" fmla="*/ 2084 h 21600"/>
                  <a:gd name="T64" fmla="*/ 4235 w 21600"/>
                  <a:gd name="T65" fmla="*/ 695 h 21600"/>
                  <a:gd name="T66" fmla="*/ 6353 w 21600"/>
                  <a:gd name="T67" fmla="*/ 0 h 21600"/>
                  <a:gd name="T68" fmla="*/ 6565 w 21600"/>
                  <a:gd name="T69" fmla="*/ 132 h 21600"/>
                  <a:gd name="T70" fmla="*/ 6776 w 21600"/>
                  <a:gd name="T71" fmla="*/ 232 h 21600"/>
                  <a:gd name="T72" fmla="*/ 11647 w 21600"/>
                  <a:gd name="T73" fmla="*/ 198 h 21600"/>
                  <a:gd name="T74" fmla="*/ 15459 w 21600"/>
                  <a:gd name="T75" fmla="*/ 198 h 21600"/>
                  <a:gd name="T76" fmla="*/ 18635 w 21600"/>
                  <a:gd name="T77" fmla="*/ 198 h 21600"/>
                  <a:gd name="T78" fmla="*/ 21600 w 21600"/>
                  <a:gd name="T79" fmla="*/ 198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1600" h="21600">
                    <a:moveTo>
                      <a:pt x="21600" y="198"/>
                    </a:moveTo>
                    <a:lnTo>
                      <a:pt x="21600" y="2812"/>
                    </a:lnTo>
                    <a:lnTo>
                      <a:pt x="7412" y="2745"/>
                    </a:lnTo>
                    <a:lnTo>
                      <a:pt x="7412" y="2183"/>
                    </a:lnTo>
                    <a:lnTo>
                      <a:pt x="7412" y="1621"/>
                    </a:lnTo>
                    <a:lnTo>
                      <a:pt x="7412" y="1092"/>
                    </a:lnTo>
                    <a:lnTo>
                      <a:pt x="7200" y="496"/>
                    </a:lnTo>
                    <a:lnTo>
                      <a:pt x="6988" y="496"/>
                    </a:lnTo>
                    <a:lnTo>
                      <a:pt x="6776" y="496"/>
                    </a:lnTo>
                    <a:lnTo>
                      <a:pt x="6353" y="496"/>
                    </a:lnTo>
                    <a:lnTo>
                      <a:pt x="6141" y="562"/>
                    </a:lnTo>
                    <a:lnTo>
                      <a:pt x="5718" y="959"/>
                    </a:lnTo>
                    <a:lnTo>
                      <a:pt x="5718" y="1389"/>
                    </a:lnTo>
                    <a:lnTo>
                      <a:pt x="5718" y="1952"/>
                    </a:lnTo>
                    <a:lnTo>
                      <a:pt x="5506" y="2712"/>
                    </a:lnTo>
                    <a:lnTo>
                      <a:pt x="5082" y="3936"/>
                    </a:lnTo>
                    <a:lnTo>
                      <a:pt x="4871" y="5689"/>
                    </a:lnTo>
                    <a:lnTo>
                      <a:pt x="4235" y="8170"/>
                    </a:lnTo>
                    <a:lnTo>
                      <a:pt x="3600" y="11445"/>
                    </a:lnTo>
                    <a:lnTo>
                      <a:pt x="3600" y="12107"/>
                    </a:lnTo>
                    <a:lnTo>
                      <a:pt x="3600" y="12735"/>
                    </a:lnTo>
                    <a:lnTo>
                      <a:pt x="3176" y="13760"/>
                    </a:lnTo>
                    <a:lnTo>
                      <a:pt x="2541" y="15613"/>
                    </a:lnTo>
                    <a:lnTo>
                      <a:pt x="2541" y="16241"/>
                    </a:lnTo>
                    <a:lnTo>
                      <a:pt x="2541" y="17035"/>
                    </a:lnTo>
                    <a:lnTo>
                      <a:pt x="2329" y="18491"/>
                    </a:lnTo>
                    <a:lnTo>
                      <a:pt x="1906" y="21137"/>
                    </a:lnTo>
                    <a:lnTo>
                      <a:pt x="2329" y="21104"/>
                    </a:lnTo>
                    <a:lnTo>
                      <a:pt x="3176" y="21038"/>
                    </a:lnTo>
                    <a:lnTo>
                      <a:pt x="3600" y="21038"/>
                    </a:lnTo>
                    <a:lnTo>
                      <a:pt x="4024" y="21005"/>
                    </a:lnTo>
                    <a:lnTo>
                      <a:pt x="4235" y="20674"/>
                    </a:lnTo>
                    <a:lnTo>
                      <a:pt x="4235" y="20343"/>
                    </a:lnTo>
                    <a:lnTo>
                      <a:pt x="4659" y="19979"/>
                    </a:lnTo>
                    <a:lnTo>
                      <a:pt x="4659" y="19648"/>
                    </a:lnTo>
                    <a:lnTo>
                      <a:pt x="5506" y="13959"/>
                    </a:lnTo>
                    <a:lnTo>
                      <a:pt x="6353" y="9758"/>
                    </a:lnTo>
                    <a:lnTo>
                      <a:pt x="6776" y="6913"/>
                    </a:lnTo>
                    <a:lnTo>
                      <a:pt x="7200" y="5326"/>
                    </a:lnTo>
                    <a:lnTo>
                      <a:pt x="7200" y="4862"/>
                    </a:lnTo>
                    <a:lnTo>
                      <a:pt x="7200" y="4234"/>
                    </a:lnTo>
                    <a:lnTo>
                      <a:pt x="7200" y="3506"/>
                    </a:lnTo>
                    <a:lnTo>
                      <a:pt x="7412" y="2745"/>
                    </a:lnTo>
                    <a:lnTo>
                      <a:pt x="21600" y="2812"/>
                    </a:lnTo>
                    <a:lnTo>
                      <a:pt x="21600" y="21600"/>
                    </a:lnTo>
                    <a:lnTo>
                      <a:pt x="17153" y="21600"/>
                    </a:lnTo>
                    <a:lnTo>
                      <a:pt x="12918" y="21600"/>
                    </a:lnTo>
                    <a:lnTo>
                      <a:pt x="8894" y="21534"/>
                    </a:lnTo>
                    <a:lnTo>
                      <a:pt x="5506" y="21501"/>
                    </a:lnTo>
                    <a:lnTo>
                      <a:pt x="2965" y="21435"/>
                    </a:lnTo>
                    <a:lnTo>
                      <a:pt x="847" y="21302"/>
                    </a:lnTo>
                    <a:lnTo>
                      <a:pt x="0" y="21203"/>
                    </a:lnTo>
                    <a:lnTo>
                      <a:pt x="212" y="21038"/>
                    </a:lnTo>
                    <a:lnTo>
                      <a:pt x="847" y="18160"/>
                    </a:lnTo>
                    <a:lnTo>
                      <a:pt x="1694" y="14488"/>
                    </a:lnTo>
                    <a:lnTo>
                      <a:pt x="2329" y="11379"/>
                    </a:lnTo>
                    <a:lnTo>
                      <a:pt x="2965" y="9957"/>
                    </a:lnTo>
                    <a:lnTo>
                      <a:pt x="3176" y="8137"/>
                    </a:lnTo>
                    <a:lnTo>
                      <a:pt x="3600" y="6351"/>
                    </a:lnTo>
                    <a:lnTo>
                      <a:pt x="3812" y="4565"/>
                    </a:lnTo>
                    <a:lnTo>
                      <a:pt x="4024" y="2712"/>
                    </a:lnTo>
                    <a:lnTo>
                      <a:pt x="5506" y="2712"/>
                    </a:lnTo>
                    <a:lnTo>
                      <a:pt x="4024" y="2712"/>
                    </a:lnTo>
                    <a:lnTo>
                      <a:pt x="4235" y="2084"/>
                    </a:lnTo>
                    <a:lnTo>
                      <a:pt x="4235" y="1389"/>
                    </a:lnTo>
                    <a:lnTo>
                      <a:pt x="4235" y="695"/>
                    </a:lnTo>
                    <a:lnTo>
                      <a:pt x="4659" y="0"/>
                    </a:lnTo>
                    <a:lnTo>
                      <a:pt x="6353" y="0"/>
                    </a:lnTo>
                    <a:lnTo>
                      <a:pt x="6565" y="66"/>
                    </a:lnTo>
                    <a:lnTo>
                      <a:pt x="6565" y="132"/>
                    </a:lnTo>
                    <a:lnTo>
                      <a:pt x="6565" y="165"/>
                    </a:lnTo>
                    <a:lnTo>
                      <a:pt x="6776" y="232"/>
                    </a:lnTo>
                    <a:lnTo>
                      <a:pt x="9529" y="232"/>
                    </a:lnTo>
                    <a:lnTo>
                      <a:pt x="11647" y="198"/>
                    </a:lnTo>
                    <a:lnTo>
                      <a:pt x="13553" y="198"/>
                    </a:lnTo>
                    <a:lnTo>
                      <a:pt x="15459" y="198"/>
                    </a:lnTo>
                    <a:lnTo>
                      <a:pt x="17153" y="198"/>
                    </a:lnTo>
                    <a:lnTo>
                      <a:pt x="18635" y="198"/>
                    </a:lnTo>
                    <a:lnTo>
                      <a:pt x="20118" y="198"/>
                    </a:lnTo>
                    <a:lnTo>
                      <a:pt x="21600" y="198"/>
                    </a:lnTo>
                    <a:close/>
                    <a:moveTo>
                      <a:pt x="21600" y="198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69" name="Freeform 59"/>
              <p:cNvSpPr>
                <a:spLocks/>
              </p:cNvSpPr>
              <p:nvPr/>
            </p:nvSpPr>
            <p:spPr bwMode="gray">
              <a:xfrm>
                <a:off x="0" y="0"/>
                <a:ext cx="259" cy="69"/>
              </a:xfrm>
              <a:custGeom>
                <a:avLst/>
                <a:gdLst>
                  <a:gd name="T0" fmla="*/ 20047 w 21600"/>
                  <a:gd name="T1" fmla="*/ 19610 h 21600"/>
                  <a:gd name="T2" fmla="*/ 19987 w 21600"/>
                  <a:gd name="T3" fmla="*/ 21600 h 21600"/>
                  <a:gd name="T4" fmla="*/ 19754 w 21600"/>
                  <a:gd name="T5" fmla="*/ 21086 h 21600"/>
                  <a:gd name="T6" fmla="*/ 19150 w 21600"/>
                  <a:gd name="T7" fmla="*/ 20990 h 21600"/>
                  <a:gd name="T8" fmla="*/ 18201 w 21600"/>
                  <a:gd name="T9" fmla="*/ 20798 h 21600"/>
                  <a:gd name="T10" fmla="*/ 17356 w 21600"/>
                  <a:gd name="T11" fmla="*/ 20156 h 21600"/>
                  <a:gd name="T12" fmla="*/ 16278 w 21600"/>
                  <a:gd name="T13" fmla="*/ 20990 h 21600"/>
                  <a:gd name="T14" fmla="*/ 15700 w 21600"/>
                  <a:gd name="T15" fmla="*/ 20830 h 21600"/>
                  <a:gd name="T16" fmla="*/ 14725 w 21600"/>
                  <a:gd name="T17" fmla="*/ 20733 h 21600"/>
                  <a:gd name="T18" fmla="*/ 14276 w 21600"/>
                  <a:gd name="T19" fmla="*/ 20862 h 21600"/>
                  <a:gd name="T20" fmla="*/ 13923 w 21600"/>
                  <a:gd name="T21" fmla="*/ 20798 h 21600"/>
                  <a:gd name="T22" fmla="*/ 13871 w 21600"/>
                  <a:gd name="T23" fmla="*/ 20188 h 21600"/>
                  <a:gd name="T24" fmla="*/ 12810 w 21600"/>
                  <a:gd name="T25" fmla="*/ 20926 h 21600"/>
                  <a:gd name="T26" fmla="*/ 12180 w 21600"/>
                  <a:gd name="T27" fmla="*/ 20188 h 21600"/>
                  <a:gd name="T28" fmla="*/ 11145 w 21600"/>
                  <a:gd name="T29" fmla="*/ 20894 h 21600"/>
                  <a:gd name="T30" fmla="*/ 10498 w 21600"/>
                  <a:gd name="T31" fmla="*/ 20669 h 21600"/>
                  <a:gd name="T32" fmla="*/ 10006 w 21600"/>
                  <a:gd name="T33" fmla="*/ 20188 h 21600"/>
                  <a:gd name="T34" fmla="*/ 9549 w 21600"/>
                  <a:gd name="T35" fmla="*/ 20766 h 21600"/>
                  <a:gd name="T36" fmla="*/ 8954 w 21600"/>
                  <a:gd name="T37" fmla="*/ 20862 h 21600"/>
                  <a:gd name="T38" fmla="*/ 8712 w 21600"/>
                  <a:gd name="T39" fmla="*/ 20284 h 21600"/>
                  <a:gd name="T40" fmla="*/ 7962 w 21600"/>
                  <a:gd name="T41" fmla="*/ 20252 h 21600"/>
                  <a:gd name="T42" fmla="*/ 7617 w 21600"/>
                  <a:gd name="T43" fmla="*/ 20830 h 21600"/>
                  <a:gd name="T44" fmla="*/ 7117 w 21600"/>
                  <a:gd name="T45" fmla="*/ 20798 h 21600"/>
                  <a:gd name="T46" fmla="*/ 7030 w 21600"/>
                  <a:gd name="T47" fmla="*/ 20348 h 21600"/>
                  <a:gd name="T48" fmla="*/ 6461 w 21600"/>
                  <a:gd name="T49" fmla="*/ 20156 h 21600"/>
                  <a:gd name="T50" fmla="*/ 6090 w 21600"/>
                  <a:gd name="T51" fmla="*/ 20445 h 21600"/>
                  <a:gd name="T52" fmla="*/ 5685 w 21600"/>
                  <a:gd name="T53" fmla="*/ 20798 h 21600"/>
                  <a:gd name="T54" fmla="*/ 5158 w 21600"/>
                  <a:gd name="T55" fmla="*/ 20188 h 21600"/>
                  <a:gd name="T56" fmla="*/ 4339 w 21600"/>
                  <a:gd name="T57" fmla="*/ 20445 h 21600"/>
                  <a:gd name="T58" fmla="*/ 3977 w 21600"/>
                  <a:gd name="T59" fmla="*/ 20894 h 21600"/>
                  <a:gd name="T60" fmla="*/ 3511 w 21600"/>
                  <a:gd name="T61" fmla="*/ 20284 h 21600"/>
                  <a:gd name="T62" fmla="*/ 1777 w 21600"/>
                  <a:gd name="T63" fmla="*/ 21151 h 21600"/>
                  <a:gd name="T64" fmla="*/ 1656 w 21600"/>
                  <a:gd name="T65" fmla="*/ 20124 h 21600"/>
                  <a:gd name="T66" fmla="*/ 0 w 21600"/>
                  <a:gd name="T67" fmla="*/ 12421 h 21600"/>
                  <a:gd name="T68" fmla="*/ 2208 w 21600"/>
                  <a:gd name="T69" fmla="*/ 11169 h 21600"/>
                  <a:gd name="T70" fmla="*/ 1354 w 21600"/>
                  <a:gd name="T71" fmla="*/ 12132 h 21600"/>
                  <a:gd name="T72" fmla="*/ 854 w 21600"/>
                  <a:gd name="T73" fmla="*/ 12774 h 21600"/>
                  <a:gd name="T74" fmla="*/ 1052 w 21600"/>
                  <a:gd name="T75" fmla="*/ 12870 h 21600"/>
                  <a:gd name="T76" fmla="*/ 11119 w 21600"/>
                  <a:gd name="T77" fmla="*/ 2824 h 21600"/>
                  <a:gd name="T78" fmla="*/ 20159 w 21600"/>
                  <a:gd name="T79" fmla="*/ 13255 h 21600"/>
                  <a:gd name="T80" fmla="*/ 20530 w 21600"/>
                  <a:gd name="T81" fmla="*/ 13287 h 21600"/>
                  <a:gd name="T82" fmla="*/ 20660 w 21600"/>
                  <a:gd name="T83" fmla="*/ 13095 h 21600"/>
                  <a:gd name="T84" fmla="*/ 10386 w 21600"/>
                  <a:gd name="T85" fmla="*/ 2696 h 21600"/>
                  <a:gd name="T86" fmla="*/ 9049 w 21600"/>
                  <a:gd name="T87" fmla="*/ 4140 h 21600"/>
                  <a:gd name="T88" fmla="*/ 7522 w 21600"/>
                  <a:gd name="T89" fmla="*/ 5777 h 21600"/>
                  <a:gd name="T90" fmla="*/ 5978 w 21600"/>
                  <a:gd name="T91" fmla="*/ 7318 h 21600"/>
                  <a:gd name="T92" fmla="*/ 4442 w 21600"/>
                  <a:gd name="T93" fmla="*/ 8890 h 21600"/>
                  <a:gd name="T94" fmla="*/ 3088 w 21600"/>
                  <a:gd name="T95" fmla="*/ 10303 h 21600"/>
                  <a:gd name="T96" fmla="*/ 2821 w 21600"/>
                  <a:gd name="T97" fmla="*/ 10527 h 21600"/>
                  <a:gd name="T98" fmla="*/ 3727 w 21600"/>
                  <a:gd name="T99" fmla="*/ 7960 h 21600"/>
                  <a:gd name="T100" fmla="*/ 5564 w 21600"/>
                  <a:gd name="T101" fmla="*/ 5938 h 21600"/>
                  <a:gd name="T102" fmla="*/ 7393 w 21600"/>
                  <a:gd name="T103" fmla="*/ 3884 h 21600"/>
                  <a:gd name="T104" fmla="*/ 9187 w 21600"/>
                  <a:gd name="T105" fmla="*/ 1894 h 21600"/>
                  <a:gd name="T106" fmla="*/ 10593 w 21600"/>
                  <a:gd name="T107" fmla="*/ 417 h 21600"/>
                  <a:gd name="T108" fmla="*/ 10800 w 21600"/>
                  <a:gd name="T109" fmla="*/ 193 h 21600"/>
                  <a:gd name="T110" fmla="*/ 11188 w 21600"/>
                  <a:gd name="T111" fmla="*/ 96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600" h="21600">
                    <a:moveTo>
                      <a:pt x="21600" y="14796"/>
                    </a:moveTo>
                    <a:lnTo>
                      <a:pt x="21600" y="15630"/>
                    </a:lnTo>
                    <a:lnTo>
                      <a:pt x="20056" y="15534"/>
                    </a:lnTo>
                    <a:lnTo>
                      <a:pt x="20056" y="16529"/>
                    </a:lnTo>
                    <a:lnTo>
                      <a:pt x="20056" y="17588"/>
                    </a:lnTo>
                    <a:lnTo>
                      <a:pt x="20047" y="18615"/>
                    </a:lnTo>
                    <a:lnTo>
                      <a:pt x="20047" y="19610"/>
                    </a:lnTo>
                    <a:lnTo>
                      <a:pt x="20030" y="20509"/>
                    </a:lnTo>
                    <a:lnTo>
                      <a:pt x="20021" y="20766"/>
                    </a:lnTo>
                    <a:lnTo>
                      <a:pt x="20021" y="21022"/>
                    </a:lnTo>
                    <a:lnTo>
                      <a:pt x="20013" y="21311"/>
                    </a:lnTo>
                    <a:lnTo>
                      <a:pt x="20013" y="21568"/>
                    </a:lnTo>
                    <a:lnTo>
                      <a:pt x="20004" y="21600"/>
                    </a:lnTo>
                    <a:lnTo>
                      <a:pt x="19987" y="21600"/>
                    </a:lnTo>
                    <a:lnTo>
                      <a:pt x="19978" y="21600"/>
                    </a:lnTo>
                    <a:lnTo>
                      <a:pt x="19970" y="21600"/>
                    </a:lnTo>
                    <a:lnTo>
                      <a:pt x="19961" y="21504"/>
                    </a:lnTo>
                    <a:lnTo>
                      <a:pt x="19961" y="21343"/>
                    </a:lnTo>
                    <a:lnTo>
                      <a:pt x="19961" y="21247"/>
                    </a:lnTo>
                    <a:lnTo>
                      <a:pt x="19952" y="21086"/>
                    </a:lnTo>
                    <a:lnTo>
                      <a:pt x="19754" y="21086"/>
                    </a:lnTo>
                    <a:lnTo>
                      <a:pt x="19599" y="21054"/>
                    </a:lnTo>
                    <a:lnTo>
                      <a:pt x="19495" y="21054"/>
                    </a:lnTo>
                    <a:lnTo>
                      <a:pt x="19400" y="21054"/>
                    </a:lnTo>
                    <a:lnTo>
                      <a:pt x="19331" y="21054"/>
                    </a:lnTo>
                    <a:lnTo>
                      <a:pt x="19271" y="21022"/>
                    </a:lnTo>
                    <a:lnTo>
                      <a:pt x="19219" y="21022"/>
                    </a:lnTo>
                    <a:lnTo>
                      <a:pt x="19150" y="20990"/>
                    </a:lnTo>
                    <a:lnTo>
                      <a:pt x="19133" y="20798"/>
                    </a:lnTo>
                    <a:lnTo>
                      <a:pt x="19124" y="20605"/>
                    </a:lnTo>
                    <a:lnTo>
                      <a:pt x="19116" y="20380"/>
                    </a:lnTo>
                    <a:lnTo>
                      <a:pt x="19116" y="20156"/>
                    </a:lnTo>
                    <a:lnTo>
                      <a:pt x="18193" y="20188"/>
                    </a:lnTo>
                    <a:lnTo>
                      <a:pt x="18193" y="20573"/>
                    </a:lnTo>
                    <a:lnTo>
                      <a:pt x="18201" y="20798"/>
                    </a:lnTo>
                    <a:lnTo>
                      <a:pt x="18219" y="20894"/>
                    </a:lnTo>
                    <a:lnTo>
                      <a:pt x="18210" y="21022"/>
                    </a:lnTo>
                    <a:lnTo>
                      <a:pt x="17390" y="21022"/>
                    </a:lnTo>
                    <a:lnTo>
                      <a:pt x="17390" y="20830"/>
                    </a:lnTo>
                    <a:lnTo>
                      <a:pt x="17373" y="20637"/>
                    </a:lnTo>
                    <a:lnTo>
                      <a:pt x="17356" y="20380"/>
                    </a:lnTo>
                    <a:lnTo>
                      <a:pt x="17356" y="20156"/>
                    </a:lnTo>
                    <a:lnTo>
                      <a:pt x="16467" y="20156"/>
                    </a:lnTo>
                    <a:lnTo>
                      <a:pt x="16450" y="20380"/>
                    </a:lnTo>
                    <a:lnTo>
                      <a:pt x="16450" y="20573"/>
                    </a:lnTo>
                    <a:lnTo>
                      <a:pt x="16450" y="20766"/>
                    </a:lnTo>
                    <a:lnTo>
                      <a:pt x="16442" y="20894"/>
                    </a:lnTo>
                    <a:lnTo>
                      <a:pt x="16364" y="20990"/>
                    </a:lnTo>
                    <a:lnTo>
                      <a:pt x="16278" y="20990"/>
                    </a:lnTo>
                    <a:lnTo>
                      <a:pt x="16183" y="21022"/>
                    </a:lnTo>
                    <a:lnTo>
                      <a:pt x="16096" y="21022"/>
                    </a:lnTo>
                    <a:lnTo>
                      <a:pt x="16010" y="21022"/>
                    </a:lnTo>
                    <a:lnTo>
                      <a:pt x="15915" y="20990"/>
                    </a:lnTo>
                    <a:lnTo>
                      <a:pt x="15829" y="20990"/>
                    </a:lnTo>
                    <a:lnTo>
                      <a:pt x="15734" y="20990"/>
                    </a:lnTo>
                    <a:lnTo>
                      <a:pt x="15700" y="20830"/>
                    </a:lnTo>
                    <a:lnTo>
                      <a:pt x="15682" y="20637"/>
                    </a:lnTo>
                    <a:lnTo>
                      <a:pt x="15657" y="20412"/>
                    </a:lnTo>
                    <a:lnTo>
                      <a:pt x="15639" y="20188"/>
                    </a:lnTo>
                    <a:lnTo>
                      <a:pt x="14734" y="20188"/>
                    </a:lnTo>
                    <a:lnTo>
                      <a:pt x="14734" y="20348"/>
                    </a:lnTo>
                    <a:lnTo>
                      <a:pt x="14734" y="20541"/>
                    </a:lnTo>
                    <a:lnTo>
                      <a:pt x="14725" y="20733"/>
                    </a:lnTo>
                    <a:lnTo>
                      <a:pt x="14725" y="20862"/>
                    </a:lnTo>
                    <a:lnTo>
                      <a:pt x="14656" y="20894"/>
                    </a:lnTo>
                    <a:lnTo>
                      <a:pt x="14578" y="20894"/>
                    </a:lnTo>
                    <a:lnTo>
                      <a:pt x="14492" y="20894"/>
                    </a:lnTo>
                    <a:lnTo>
                      <a:pt x="14406" y="20894"/>
                    </a:lnTo>
                    <a:lnTo>
                      <a:pt x="14337" y="20894"/>
                    </a:lnTo>
                    <a:lnTo>
                      <a:pt x="14276" y="20862"/>
                    </a:lnTo>
                    <a:lnTo>
                      <a:pt x="14225" y="20862"/>
                    </a:lnTo>
                    <a:lnTo>
                      <a:pt x="14207" y="20830"/>
                    </a:lnTo>
                    <a:lnTo>
                      <a:pt x="14181" y="20830"/>
                    </a:lnTo>
                    <a:lnTo>
                      <a:pt x="14138" y="20862"/>
                    </a:lnTo>
                    <a:lnTo>
                      <a:pt x="14061" y="20862"/>
                    </a:lnTo>
                    <a:lnTo>
                      <a:pt x="13923" y="20862"/>
                    </a:lnTo>
                    <a:lnTo>
                      <a:pt x="13923" y="20798"/>
                    </a:lnTo>
                    <a:lnTo>
                      <a:pt x="13923" y="20669"/>
                    </a:lnTo>
                    <a:lnTo>
                      <a:pt x="13923" y="20573"/>
                    </a:lnTo>
                    <a:lnTo>
                      <a:pt x="13923" y="20445"/>
                    </a:lnTo>
                    <a:lnTo>
                      <a:pt x="13914" y="20412"/>
                    </a:lnTo>
                    <a:lnTo>
                      <a:pt x="13888" y="20316"/>
                    </a:lnTo>
                    <a:lnTo>
                      <a:pt x="13880" y="20252"/>
                    </a:lnTo>
                    <a:lnTo>
                      <a:pt x="13871" y="20188"/>
                    </a:lnTo>
                    <a:lnTo>
                      <a:pt x="12982" y="20188"/>
                    </a:lnTo>
                    <a:lnTo>
                      <a:pt x="12982" y="20412"/>
                    </a:lnTo>
                    <a:lnTo>
                      <a:pt x="13000" y="20605"/>
                    </a:lnTo>
                    <a:lnTo>
                      <a:pt x="13000" y="20766"/>
                    </a:lnTo>
                    <a:lnTo>
                      <a:pt x="13000" y="20894"/>
                    </a:lnTo>
                    <a:lnTo>
                      <a:pt x="12896" y="20926"/>
                    </a:lnTo>
                    <a:lnTo>
                      <a:pt x="12810" y="20926"/>
                    </a:lnTo>
                    <a:lnTo>
                      <a:pt x="12706" y="20894"/>
                    </a:lnTo>
                    <a:lnTo>
                      <a:pt x="12612" y="20862"/>
                    </a:lnTo>
                    <a:lnTo>
                      <a:pt x="12508" y="20830"/>
                    </a:lnTo>
                    <a:lnTo>
                      <a:pt x="12422" y="20798"/>
                    </a:lnTo>
                    <a:lnTo>
                      <a:pt x="12318" y="20798"/>
                    </a:lnTo>
                    <a:lnTo>
                      <a:pt x="12223" y="20766"/>
                    </a:lnTo>
                    <a:lnTo>
                      <a:pt x="12180" y="20188"/>
                    </a:lnTo>
                    <a:lnTo>
                      <a:pt x="11257" y="20188"/>
                    </a:lnTo>
                    <a:lnTo>
                      <a:pt x="11266" y="20348"/>
                    </a:lnTo>
                    <a:lnTo>
                      <a:pt x="11274" y="20509"/>
                    </a:lnTo>
                    <a:lnTo>
                      <a:pt x="11283" y="20669"/>
                    </a:lnTo>
                    <a:lnTo>
                      <a:pt x="11300" y="20798"/>
                    </a:lnTo>
                    <a:lnTo>
                      <a:pt x="11240" y="20862"/>
                    </a:lnTo>
                    <a:lnTo>
                      <a:pt x="11145" y="20894"/>
                    </a:lnTo>
                    <a:lnTo>
                      <a:pt x="11050" y="20926"/>
                    </a:lnTo>
                    <a:lnTo>
                      <a:pt x="10929" y="20894"/>
                    </a:lnTo>
                    <a:lnTo>
                      <a:pt x="10817" y="20894"/>
                    </a:lnTo>
                    <a:lnTo>
                      <a:pt x="10696" y="20862"/>
                    </a:lnTo>
                    <a:lnTo>
                      <a:pt x="10602" y="20862"/>
                    </a:lnTo>
                    <a:lnTo>
                      <a:pt x="10524" y="20830"/>
                    </a:lnTo>
                    <a:lnTo>
                      <a:pt x="10498" y="20669"/>
                    </a:lnTo>
                    <a:lnTo>
                      <a:pt x="10472" y="20541"/>
                    </a:lnTo>
                    <a:lnTo>
                      <a:pt x="10446" y="20348"/>
                    </a:lnTo>
                    <a:lnTo>
                      <a:pt x="10420" y="20188"/>
                    </a:lnTo>
                    <a:lnTo>
                      <a:pt x="10317" y="20188"/>
                    </a:lnTo>
                    <a:lnTo>
                      <a:pt x="10213" y="20188"/>
                    </a:lnTo>
                    <a:lnTo>
                      <a:pt x="10101" y="20188"/>
                    </a:lnTo>
                    <a:lnTo>
                      <a:pt x="10006" y="20188"/>
                    </a:lnTo>
                    <a:lnTo>
                      <a:pt x="9894" y="20188"/>
                    </a:lnTo>
                    <a:lnTo>
                      <a:pt x="9799" y="20188"/>
                    </a:lnTo>
                    <a:lnTo>
                      <a:pt x="9687" y="20188"/>
                    </a:lnTo>
                    <a:lnTo>
                      <a:pt x="9584" y="20188"/>
                    </a:lnTo>
                    <a:lnTo>
                      <a:pt x="9575" y="20380"/>
                    </a:lnTo>
                    <a:lnTo>
                      <a:pt x="9566" y="20573"/>
                    </a:lnTo>
                    <a:lnTo>
                      <a:pt x="9549" y="20766"/>
                    </a:lnTo>
                    <a:lnTo>
                      <a:pt x="9541" y="20926"/>
                    </a:lnTo>
                    <a:lnTo>
                      <a:pt x="9463" y="20894"/>
                    </a:lnTo>
                    <a:lnTo>
                      <a:pt x="9377" y="20894"/>
                    </a:lnTo>
                    <a:lnTo>
                      <a:pt x="9282" y="20894"/>
                    </a:lnTo>
                    <a:lnTo>
                      <a:pt x="9178" y="20862"/>
                    </a:lnTo>
                    <a:lnTo>
                      <a:pt x="9075" y="20862"/>
                    </a:lnTo>
                    <a:lnTo>
                      <a:pt x="8954" y="20862"/>
                    </a:lnTo>
                    <a:lnTo>
                      <a:pt x="8833" y="20862"/>
                    </a:lnTo>
                    <a:lnTo>
                      <a:pt x="8712" y="20830"/>
                    </a:lnTo>
                    <a:lnTo>
                      <a:pt x="8712" y="20798"/>
                    </a:lnTo>
                    <a:lnTo>
                      <a:pt x="8712" y="20766"/>
                    </a:lnTo>
                    <a:lnTo>
                      <a:pt x="8712" y="20733"/>
                    </a:lnTo>
                    <a:lnTo>
                      <a:pt x="8712" y="20669"/>
                    </a:lnTo>
                    <a:lnTo>
                      <a:pt x="8712" y="20284"/>
                    </a:lnTo>
                    <a:lnTo>
                      <a:pt x="8600" y="20284"/>
                    </a:lnTo>
                    <a:lnTo>
                      <a:pt x="8497" y="20284"/>
                    </a:lnTo>
                    <a:lnTo>
                      <a:pt x="8385" y="20284"/>
                    </a:lnTo>
                    <a:lnTo>
                      <a:pt x="8290" y="20252"/>
                    </a:lnTo>
                    <a:lnTo>
                      <a:pt x="8178" y="20252"/>
                    </a:lnTo>
                    <a:lnTo>
                      <a:pt x="8065" y="20252"/>
                    </a:lnTo>
                    <a:lnTo>
                      <a:pt x="7962" y="20252"/>
                    </a:lnTo>
                    <a:lnTo>
                      <a:pt x="7850" y="20252"/>
                    </a:lnTo>
                    <a:lnTo>
                      <a:pt x="7833" y="20380"/>
                    </a:lnTo>
                    <a:lnTo>
                      <a:pt x="7815" y="20509"/>
                    </a:lnTo>
                    <a:lnTo>
                      <a:pt x="7798" y="20637"/>
                    </a:lnTo>
                    <a:lnTo>
                      <a:pt x="7781" y="20798"/>
                    </a:lnTo>
                    <a:lnTo>
                      <a:pt x="7703" y="20798"/>
                    </a:lnTo>
                    <a:lnTo>
                      <a:pt x="7617" y="20830"/>
                    </a:lnTo>
                    <a:lnTo>
                      <a:pt x="7539" y="20830"/>
                    </a:lnTo>
                    <a:lnTo>
                      <a:pt x="7462" y="20830"/>
                    </a:lnTo>
                    <a:lnTo>
                      <a:pt x="7375" y="20830"/>
                    </a:lnTo>
                    <a:lnTo>
                      <a:pt x="7289" y="20830"/>
                    </a:lnTo>
                    <a:lnTo>
                      <a:pt x="7212" y="20830"/>
                    </a:lnTo>
                    <a:lnTo>
                      <a:pt x="7134" y="20830"/>
                    </a:lnTo>
                    <a:lnTo>
                      <a:pt x="7117" y="20798"/>
                    </a:lnTo>
                    <a:lnTo>
                      <a:pt x="7091" y="20798"/>
                    </a:lnTo>
                    <a:lnTo>
                      <a:pt x="7082" y="20798"/>
                    </a:lnTo>
                    <a:lnTo>
                      <a:pt x="7065" y="20766"/>
                    </a:lnTo>
                    <a:lnTo>
                      <a:pt x="7056" y="20637"/>
                    </a:lnTo>
                    <a:lnTo>
                      <a:pt x="7056" y="20541"/>
                    </a:lnTo>
                    <a:lnTo>
                      <a:pt x="7048" y="20412"/>
                    </a:lnTo>
                    <a:lnTo>
                      <a:pt x="7030" y="20348"/>
                    </a:lnTo>
                    <a:lnTo>
                      <a:pt x="7022" y="20316"/>
                    </a:lnTo>
                    <a:lnTo>
                      <a:pt x="7022" y="20252"/>
                    </a:lnTo>
                    <a:lnTo>
                      <a:pt x="7022" y="20188"/>
                    </a:lnTo>
                    <a:lnTo>
                      <a:pt x="7013" y="20156"/>
                    </a:lnTo>
                    <a:lnTo>
                      <a:pt x="6789" y="20156"/>
                    </a:lnTo>
                    <a:lnTo>
                      <a:pt x="6608" y="20156"/>
                    </a:lnTo>
                    <a:lnTo>
                      <a:pt x="6461" y="20156"/>
                    </a:lnTo>
                    <a:lnTo>
                      <a:pt x="6340" y="20188"/>
                    </a:lnTo>
                    <a:lnTo>
                      <a:pt x="6245" y="20188"/>
                    </a:lnTo>
                    <a:lnTo>
                      <a:pt x="6194" y="20188"/>
                    </a:lnTo>
                    <a:lnTo>
                      <a:pt x="6150" y="20252"/>
                    </a:lnTo>
                    <a:lnTo>
                      <a:pt x="6125" y="20252"/>
                    </a:lnTo>
                    <a:lnTo>
                      <a:pt x="6107" y="20348"/>
                    </a:lnTo>
                    <a:lnTo>
                      <a:pt x="6090" y="20445"/>
                    </a:lnTo>
                    <a:lnTo>
                      <a:pt x="6081" y="20605"/>
                    </a:lnTo>
                    <a:lnTo>
                      <a:pt x="6064" y="20733"/>
                    </a:lnTo>
                    <a:lnTo>
                      <a:pt x="5969" y="20766"/>
                    </a:lnTo>
                    <a:lnTo>
                      <a:pt x="5892" y="20766"/>
                    </a:lnTo>
                    <a:lnTo>
                      <a:pt x="5814" y="20766"/>
                    </a:lnTo>
                    <a:lnTo>
                      <a:pt x="5754" y="20766"/>
                    </a:lnTo>
                    <a:lnTo>
                      <a:pt x="5685" y="20798"/>
                    </a:lnTo>
                    <a:lnTo>
                      <a:pt x="5607" y="20798"/>
                    </a:lnTo>
                    <a:lnTo>
                      <a:pt x="5521" y="20798"/>
                    </a:lnTo>
                    <a:lnTo>
                      <a:pt x="5435" y="20830"/>
                    </a:lnTo>
                    <a:lnTo>
                      <a:pt x="5253" y="20156"/>
                    </a:lnTo>
                    <a:lnTo>
                      <a:pt x="5227" y="20156"/>
                    </a:lnTo>
                    <a:lnTo>
                      <a:pt x="5193" y="20188"/>
                    </a:lnTo>
                    <a:lnTo>
                      <a:pt x="5158" y="20188"/>
                    </a:lnTo>
                    <a:lnTo>
                      <a:pt x="5098" y="20252"/>
                    </a:lnTo>
                    <a:lnTo>
                      <a:pt x="4995" y="20252"/>
                    </a:lnTo>
                    <a:lnTo>
                      <a:pt x="4857" y="20252"/>
                    </a:lnTo>
                    <a:lnTo>
                      <a:pt x="4658" y="20252"/>
                    </a:lnTo>
                    <a:lnTo>
                      <a:pt x="4391" y="20188"/>
                    </a:lnTo>
                    <a:lnTo>
                      <a:pt x="4373" y="20316"/>
                    </a:lnTo>
                    <a:lnTo>
                      <a:pt x="4339" y="20445"/>
                    </a:lnTo>
                    <a:lnTo>
                      <a:pt x="4313" y="20637"/>
                    </a:lnTo>
                    <a:lnTo>
                      <a:pt x="4296" y="20862"/>
                    </a:lnTo>
                    <a:lnTo>
                      <a:pt x="4235" y="20862"/>
                    </a:lnTo>
                    <a:lnTo>
                      <a:pt x="4175" y="20894"/>
                    </a:lnTo>
                    <a:lnTo>
                      <a:pt x="4123" y="20894"/>
                    </a:lnTo>
                    <a:lnTo>
                      <a:pt x="4054" y="20894"/>
                    </a:lnTo>
                    <a:lnTo>
                      <a:pt x="3977" y="20894"/>
                    </a:lnTo>
                    <a:lnTo>
                      <a:pt x="3865" y="20894"/>
                    </a:lnTo>
                    <a:lnTo>
                      <a:pt x="3718" y="20862"/>
                    </a:lnTo>
                    <a:lnTo>
                      <a:pt x="3528" y="20862"/>
                    </a:lnTo>
                    <a:lnTo>
                      <a:pt x="3528" y="20669"/>
                    </a:lnTo>
                    <a:lnTo>
                      <a:pt x="3528" y="20541"/>
                    </a:lnTo>
                    <a:lnTo>
                      <a:pt x="3528" y="20380"/>
                    </a:lnTo>
                    <a:lnTo>
                      <a:pt x="3511" y="20284"/>
                    </a:lnTo>
                    <a:lnTo>
                      <a:pt x="2398" y="20188"/>
                    </a:lnTo>
                    <a:lnTo>
                      <a:pt x="2381" y="20348"/>
                    </a:lnTo>
                    <a:lnTo>
                      <a:pt x="2381" y="20541"/>
                    </a:lnTo>
                    <a:lnTo>
                      <a:pt x="2381" y="20733"/>
                    </a:lnTo>
                    <a:lnTo>
                      <a:pt x="2372" y="20862"/>
                    </a:lnTo>
                    <a:lnTo>
                      <a:pt x="1786" y="20990"/>
                    </a:lnTo>
                    <a:lnTo>
                      <a:pt x="1777" y="21151"/>
                    </a:lnTo>
                    <a:lnTo>
                      <a:pt x="1760" y="21279"/>
                    </a:lnTo>
                    <a:lnTo>
                      <a:pt x="1725" y="21343"/>
                    </a:lnTo>
                    <a:lnTo>
                      <a:pt x="1673" y="21407"/>
                    </a:lnTo>
                    <a:lnTo>
                      <a:pt x="1648" y="21054"/>
                    </a:lnTo>
                    <a:lnTo>
                      <a:pt x="1648" y="20798"/>
                    </a:lnTo>
                    <a:lnTo>
                      <a:pt x="1656" y="20541"/>
                    </a:lnTo>
                    <a:lnTo>
                      <a:pt x="1656" y="20124"/>
                    </a:lnTo>
                    <a:lnTo>
                      <a:pt x="1673" y="19225"/>
                    </a:lnTo>
                    <a:lnTo>
                      <a:pt x="1682" y="19032"/>
                    </a:lnTo>
                    <a:lnTo>
                      <a:pt x="1691" y="18423"/>
                    </a:lnTo>
                    <a:lnTo>
                      <a:pt x="1691" y="17267"/>
                    </a:lnTo>
                    <a:lnTo>
                      <a:pt x="1682" y="15277"/>
                    </a:lnTo>
                    <a:lnTo>
                      <a:pt x="0" y="15277"/>
                    </a:lnTo>
                    <a:lnTo>
                      <a:pt x="0" y="12421"/>
                    </a:lnTo>
                    <a:lnTo>
                      <a:pt x="2148" y="9661"/>
                    </a:lnTo>
                    <a:lnTo>
                      <a:pt x="2821" y="10527"/>
                    </a:lnTo>
                    <a:lnTo>
                      <a:pt x="2700" y="10656"/>
                    </a:lnTo>
                    <a:lnTo>
                      <a:pt x="2571" y="10784"/>
                    </a:lnTo>
                    <a:lnTo>
                      <a:pt x="2450" y="10912"/>
                    </a:lnTo>
                    <a:lnTo>
                      <a:pt x="2338" y="11041"/>
                    </a:lnTo>
                    <a:lnTo>
                      <a:pt x="2208" y="11169"/>
                    </a:lnTo>
                    <a:lnTo>
                      <a:pt x="2088" y="11330"/>
                    </a:lnTo>
                    <a:lnTo>
                      <a:pt x="1967" y="11426"/>
                    </a:lnTo>
                    <a:lnTo>
                      <a:pt x="1837" y="11586"/>
                    </a:lnTo>
                    <a:lnTo>
                      <a:pt x="1717" y="11747"/>
                    </a:lnTo>
                    <a:lnTo>
                      <a:pt x="1596" y="11843"/>
                    </a:lnTo>
                    <a:lnTo>
                      <a:pt x="1466" y="12004"/>
                    </a:lnTo>
                    <a:lnTo>
                      <a:pt x="1354" y="12132"/>
                    </a:lnTo>
                    <a:lnTo>
                      <a:pt x="1225" y="12260"/>
                    </a:lnTo>
                    <a:lnTo>
                      <a:pt x="1104" y="12389"/>
                    </a:lnTo>
                    <a:lnTo>
                      <a:pt x="983" y="12517"/>
                    </a:lnTo>
                    <a:lnTo>
                      <a:pt x="854" y="12645"/>
                    </a:lnTo>
                    <a:lnTo>
                      <a:pt x="854" y="12710"/>
                    </a:lnTo>
                    <a:lnTo>
                      <a:pt x="854" y="12742"/>
                    </a:lnTo>
                    <a:lnTo>
                      <a:pt x="854" y="12774"/>
                    </a:lnTo>
                    <a:lnTo>
                      <a:pt x="854" y="12806"/>
                    </a:lnTo>
                    <a:lnTo>
                      <a:pt x="871" y="12838"/>
                    </a:lnTo>
                    <a:lnTo>
                      <a:pt x="888" y="12838"/>
                    </a:lnTo>
                    <a:lnTo>
                      <a:pt x="906" y="12870"/>
                    </a:lnTo>
                    <a:lnTo>
                      <a:pt x="914" y="12870"/>
                    </a:lnTo>
                    <a:lnTo>
                      <a:pt x="983" y="12870"/>
                    </a:lnTo>
                    <a:lnTo>
                      <a:pt x="1052" y="12870"/>
                    </a:lnTo>
                    <a:lnTo>
                      <a:pt x="1113" y="12838"/>
                    </a:lnTo>
                    <a:lnTo>
                      <a:pt x="1173" y="12838"/>
                    </a:lnTo>
                    <a:lnTo>
                      <a:pt x="1242" y="12838"/>
                    </a:lnTo>
                    <a:lnTo>
                      <a:pt x="1328" y="12838"/>
                    </a:lnTo>
                    <a:lnTo>
                      <a:pt x="1441" y="12838"/>
                    </a:lnTo>
                    <a:lnTo>
                      <a:pt x="1579" y="12838"/>
                    </a:lnTo>
                    <a:lnTo>
                      <a:pt x="11119" y="2824"/>
                    </a:lnTo>
                    <a:lnTo>
                      <a:pt x="19694" y="13063"/>
                    </a:lnTo>
                    <a:lnTo>
                      <a:pt x="19711" y="13095"/>
                    </a:lnTo>
                    <a:lnTo>
                      <a:pt x="19754" y="13127"/>
                    </a:lnTo>
                    <a:lnTo>
                      <a:pt x="19789" y="13223"/>
                    </a:lnTo>
                    <a:lnTo>
                      <a:pt x="19814" y="13255"/>
                    </a:lnTo>
                    <a:lnTo>
                      <a:pt x="20013" y="13255"/>
                    </a:lnTo>
                    <a:lnTo>
                      <a:pt x="20159" y="13255"/>
                    </a:lnTo>
                    <a:lnTo>
                      <a:pt x="20263" y="13255"/>
                    </a:lnTo>
                    <a:lnTo>
                      <a:pt x="20315" y="13255"/>
                    </a:lnTo>
                    <a:lnTo>
                      <a:pt x="20366" y="13255"/>
                    </a:lnTo>
                    <a:lnTo>
                      <a:pt x="20410" y="13255"/>
                    </a:lnTo>
                    <a:lnTo>
                      <a:pt x="20444" y="13287"/>
                    </a:lnTo>
                    <a:lnTo>
                      <a:pt x="20496" y="13287"/>
                    </a:lnTo>
                    <a:lnTo>
                      <a:pt x="20530" y="13287"/>
                    </a:lnTo>
                    <a:lnTo>
                      <a:pt x="20565" y="13287"/>
                    </a:lnTo>
                    <a:lnTo>
                      <a:pt x="20599" y="13287"/>
                    </a:lnTo>
                    <a:lnTo>
                      <a:pt x="20634" y="13287"/>
                    </a:lnTo>
                    <a:lnTo>
                      <a:pt x="20634" y="13255"/>
                    </a:lnTo>
                    <a:lnTo>
                      <a:pt x="20642" y="13159"/>
                    </a:lnTo>
                    <a:lnTo>
                      <a:pt x="20642" y="13127"/>
                    </a:lnTo>
                    <a:lnTo>
                      <a:pt x="20660" y="13095"/>
                    </a:lnTo>
                    <a:lnTo>
                      <a:pt x="11136" y="1926"/>
                    </a:lnTo>
                    <a:lnTo>
                      <a:pt x="11007" y="2054"/>
                    </a:lnTo>
                    <a:lnTo>
                      <a:pt x="10886" y="2150"/>
                    </a:lnTo>
                    <a:lnTo>
                      <a:pt x="10757" y="2311"/>
                    </a:lnTo>
                    <a:lnTo>
                      <a:pt x="10627" y="2439"/>
                    </a:lnTo>
                    <a:lnTo>
                      <a:pt x="10498" y="2600"/>
                    </a:lnTo>
                    <a:lnTo>
                      <a:pt x="10386" y="2696"/>
                    </a:lnTo>
                    <a:lnTo>
                      <a:pt x="10257" y="2824"/>
                    </a:lnTo>
                    <a:lnTo>
                      <a:pt x="10127" y="2889"/>
                    </a:lnTo>
                    <a:lnTo>
                      <a:pt x="9903" y="3145"/>
                    </a:lnTo>
                    <a:lnTo>
                      <a:pt x="9696" y="3402"/>
                    </a:lnTo>
                    <a:lnTo>
                      <a:pt x="9480" y="3659"/>
                    </a:lnTo>
                    <a:lnTo>
                      <a:pt x="9273" y="3884"/>
                    </a:lnTo>
                    <a:lnTo>
                      <a:pt x="9049" y="4140"/>
                    </a:lnTo>
                    <a:lnTo>
                      <a:pt x="8833" y="4365"/>
                    </a:lnTo>
                    <a:lnTo>
                      <a:pt x="8618" y="4622"/>
                    </a:lnTo>
                    <a:lnTo>
                      <a:pt x="8393" y="4846"/>
                    </a:lnTo>
                    <a:lnTo>
                      <a:pt x="8178" y="5103"/>
                    </a:lnTo>
                    <a:lnTo>
                      <a:pt x="7962" y="5328"/>
                    </a:lnTo>
                    <a:lnTo>
                      <a:pt x="7738" y="5552"/>
                    </a:lnTo>
                    <a:lnTo>
                      <a:pt x="7522" y="5777"/>
                    </a:lnTo>
                    <a:lnTo>
                      <a:pt x="7306" y="6002"/>
                    </a:lnTo>
                    <a:lnTo>
                      <a:pt x="7082" y="6226"/>
                    </a:lnTo>
                    <a:lnTo>
                      <a:pt x="6866" y="6451"/>
                    </a:lnTo>
                    <a:lnTo>
                      <a:pt x="6651" y="6676"/>
                    </a:lnTo>
                    <a:lnTo>
                      <a:pt x="6418" y="6900"/>
                    </a:lnTo>
                    <a:lnTo>
                      <a:pt x="6202" y="7125"/>
                    </a:lnTo>
                    <a:lnTo>
                      <a:pt x="5978" y="7318"/>
                    </a:lnTo>
                    <a:lnTo>
                      <a:pt x="5762" y="7542"/>
                    </a:lnTo>
                    <a:lnTo>
                      <a:pt x="5547" y="7767"/>
                    </a:lnTo>
                    <a:lnTo>
                      <a:pt x="5314" y="7992"/>
                    </a:lnTo>
                    <a:lnTo>
                      <a:pt x="5098" y="8216"/>
                    </a:lnTo>
                    <a:lnTo>
                      <a:pt x="4882" y="8441"/>
                    </a:lnTo>
                    <a:lnTo>
                      <a:pt x="4658" y="8666"/>
                    </a:lnTo>
                    <a:lnTo>
                      <a:pt x="4442" y="8890"/>
                    </a:lnTo>
                    <a:lnTo>
                      <a:pt x="4227" y="9115"/>
                    </a:lnTo>
                    <a:lnTo>
                      <a:pt x="4003" y="9340"/>
                    </a:lnTo>
                    <a:lnTo>
                      <a:pt x="3787" y="9564"/>
                    </a:lnTo>
                    <a:lnTo>
                      <a:pt x="3563" y="9757"/>
                    </a:lnTo>
                    <a:lnTo>
                      <a:pt x="3347" y="9982"/>
                    </a:lnTo>
                    <a:lnTo>
                      <a:pt x="3131" y="10206"/>
                    </a:lnTo>
                    <a:lnTo>
                      <a:pt x="3088" y="10303"/>
                    </a:lnTo>
                    <a:lnTo>
                      <a:pt x="3071" y="10335"/>
                    </a:lnTo>
                    <a:lnTo>
                      <a:pt x="3036" y="10335"/>
                    </a:lnTo>
                    <a:lnTo>
                      <a:pt x="3002" y="10335"/>
                    </a:lnTo>
                    <a:lnTo>
                      <a:pt x="2959" y="10367"/>
                    </a:lnTo>
                    <a:lnTo>
                      <a:pt x="2907" y="10399"/>
                    </a:lnTo>
                    <a:lnTo>
                      <a:pt x="2873" y="10463"/>
                    </a:lnTo>
                    <a:lnTo>
                      <a:pt x="2821" y="10527"/>
                    </a:lnTo>
                    <a:lnTo>
                      <a:pt x="2148" y="9661"/>
                    </a:lnTo>
                    <a:lnTo>
                      <a:pt x="2407" y="9404"/>
                    </a:lnTo>
                    <a:lnTo>
                      <a:pt x="2674" y="9115"/>
                    </a:lnTo>
                    <a:lnTo>
                      <a:pt x="2933" y="8826"/>
                    </a:lnTo>
                    <a:lnTo>
                      <a:pt x="3200" y="8537"/>
                    </a:lnTo>
                    <a:lnTo>
                      <a:pt x="3459" y="8248"/>
                    </a:lnTo>
                    <a:lnTo>
                      <a:pt x="3727" y="7960"/>
                    </a:lnTo>
                    <a:lnTo>
                      <a:pt x="3985" y="7671"/>
                    </a:lnTo>
                    <a:lnTo>
                      <a:pt x="4253" y="7414"/>
                    </a:lnTo>
                    <a:lnTo>
                      <a:pt x="4512" y="7125"/>
                    </a:lnTo>
                    <a:lnTo>
                      <a:pt x="4779" y="6804"/>
                    </a:lnTo>
                    <a:lnTo>
                      <a:pt x="5038" y="6515"/>
                    </a:lnTo>
                    <a:lnTo>
                      <a:pt x="5305" y="6226"/>
                    </a:lnTo>
                    <a:lnTo>
                      <a:pt x="5564" y="5938"/>
                    </a:lnTo>
                    <a:lnTo>
                      <a:pt x="5831" y="5617"/>
                    </a:lnTo>
                    <a:lnTo>
                      <a:pt x="6090" y="5328"/>
                    </a:lnTo>
                    <a:lnTo>
                      <a:pt x="6349" y="5039"/>
                    </a:lnTo>
                    <a:lnTo>
                      <a:pt x="6616" y="4750"/>
                    </a:lnTo>
                    <a:lnTo>
                      <a:pt x="6875" y="4461"/>
                    </a:lnTo>
                    <a:lnTo>
                      <a:pt x="7134" y="4140"/>
                    </a:lnTo>
                    <a:lnTo>
                      <a:pt x="7393" y="3884"/>
                    </a:lnTo>
                    <a:lnTo>
                      <a:pt x="7651" y="3595"/>
                    </a:lnTo>
                    <a:lnTo>
                      <a:pt x="7910" y="3306"/>
                    </a:lnTo>
                    <a:lnTo>
                      <a:pt x="8169" y="3017"/>
                    </a:lnTo>
                    <a:lnTo>
                      <a:pt x="8428" y="2760"/>
                    </a:lnTo>
                    <a:lnTo>
                      <a:pt x="8687" y="2439"/>
                    </a:lnTo>
                    <a:lnTo>
                      <a:pt x="8928" y="2150"/>
                    </a:lnTo>
                    <a:lnTo>
                      <a:pt x="9187" y="1894"/>
                    </a:lnTo>
                    <a:lnTo>
                      <a:pt x="9446" y="1637"/>
                    </a:lnTo>
                    <a:lnTo>
                      <a:pt x="9696" y="1348"/>
                    </a:lnTo>
                    <a:lnTo>
                      <a:pt x="9955" y="1091"/>
                    </a:lnTo>
                    <a:lnTo>
                      <a:pt x="10205" y="834"/>
                    </a:lnTo>
                    <a:lnTo>
                      <a:pt x="10455" y="578"/>
                    </a:lnTo>
                    <a:lnTo>
                      <a:pt x="10533" y="481"/>
                    </a:lnTo>
                    <a:lnTo>
                      <a:pt x="10593" y="417"/>
                    </a:lnTo>
                    <a:lnTo>
                      <a:pt x="10645" y="385"/>
                    </a:lnTo>
                    <a:lnTo>
                      <a:pt x="10671" y="353"/>
                    </a:lnTo>
                    <a:lnTo>
                      <a:pt x="10688" y="321"/>
                    </a:lnTo>
                    <a:lnTo>
                      <a:pt x="10722" y="321"/>
                    </a:lnTo>
                    <a:lnTo>
                      <a:pt x="10740" y="321"/>
                    </a:lnTo>
                    <a:lnTo>
                      <a:pt x="10757" y="321"/>
                    </a:lnTo>
                    <a:lnTo>
                      <a:pt x="10800" y="193"/>
                    </a:lnTo>
                    <a:lnTo>
                      <a:pt x="10852" y="128"/>
                    </a:lnTo>
                    <a:lnTo>
                      <a:pt x="10912" y="32"/>
                    </a:lnTo>
                    <a:lnTo>
                      <a:pt x="10955" y="0"/>
                    </a:lnTo>
                    <a:lnTo>
                      <a:pt x="11016" y="0"/>
                    </a:lnTo>
                    <a:lnTo>
                      <a:pt x="11076" y="32"/>
                    </a:lnTo>
                    <a:lnTo>
                      <a:pt x="11136" y="32"/>
                    </a:lnTo>
                    <a:lnTo>
                      <a:pt x="11188" y="96"/>
                    </a:lnTo>
                    <a:lnTo>
                      <a:pt x="21574" y="12581"/>
                    </a:lnTo>
                    <a:lnTo>
                      <a:pt x="21574" y="14122"/>
                    </a:lnTo>
                    <a:lnTo>
                      <a:pt x="198" y="14122"/>
                    </a:lnTo>
                    <a:lnTo>
                      <a:pt x="198" y="14796"/>
                    </a:lnTo>
                    <a:lnTo>
                      <a:pt x="21600" y="14796"/>
                    </a:lnTo>
                    <a:close/>
                    <a:moveTo>
                      <a:pt x="21600" y="14796"/>
                    </a:move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</p:grpSp>
      </p:grpSp>
      <p:grpSp>
        <p:nvGrpSpPr>
          <p:cNvPr id="170" name="Group 169"/>
          <p:cNvGrpSpPr>
            <a:grpSpLocks/>
          </p:cNvGrpSpPr>
          <p:nvPr/>
        </p:nvGrpSpPr>
        <p:grpSpPr bwMode="gray">
          <a:xfrm>
            <a:off x="781060" y="1581150"/>
            <a:ext cx="272029" cy="266685"/>
            <a:chOff x="-376012" y="2287369"/>
            <a:chExt cx="350056" cy="350077"/>
          </a:xfrm>
        </p:grpSpPr>
        <p:sp>
          <p:nvSpPr>
            <p:cNvPr id="171" name="Oval 18"/>
            <p:cNvSpPr>
              <a:spLocks/>
            </p:cNvSpPr>
            <p:nvPr>
              <p:custDataLst>
                <p:tags r:id="rId118"/>
              </p:custDataLst>
            </p:nvPr>
          </p:nvSpPr>
          <p:spPr bwMode="gray">
            <a:xfrm>
              <a:off x="-376012" y="2287369"/>
              <a:ext cx="350056" cy="350077"/>
            </a:xfrm>
            <a:prstGeom prst="ellipse">
              <a:avLst/>
            </a:prstGeom>
            <a:solidFill>
              <a:srgbClr val="FFFFFF"/>
            </a:solidFill>
            <a:ln w="9525" cap="flat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  <p:sp>
          <p:nvSpPr>
            <p:cNvPr id="172" name="Freeform 75"/>
            <p:cNvSpPr>
              <a:spLocks/>
            </p:cNvSpPr>
            <p:nvPr>
              <p:custDataLst>
                <p:tags r:id="rId119"/>
              </p:custDataLst>
            </p:nvPr>
          </p:nvSpPr>
          <p:spPr bwMode="gray">
            <a:xfrm>
              <a:off x="-315846" y="2367230"/>
              <a:ext cx="229724" cy="190354"/>
            </a:xfrm>
            <a:custGeom>
              <a:avLst/>
              <a:gdLst>
                <a:gd name="T0" fmla="*/ 6687 w 21600"/>
                <a:gd name="T1" fmla="*/ 0 h 21600"/>
                <a:gd name="T2" fmla="*/ 8644 w 21600"/>
                <a:gd name="T3" fmla="*/ 0 h 21600"/>
                <a:gd name="T4" fmla="*/ 8644 w 21600"/>
                <a:gd name="T5" fmla="*/ 2475 h 21600"/>
                <a:gd name="T6" fmla="*/ 18665 w 21600"/>
                <a:gd name="T7" fmla="*/ 2475 h 21600"/>
                <a:gd name="T8" fmla="*/ 21600 w 21600"/>
                <a:gd name="T9" fmla="*/ 11943 h 21600"/>
                <a:gd name="T10" fmla="*/ 19597 w 21600"/>
                <a:gd name="T11" fmla="*/ 11943 h 21600"/>
                <a:gd name="T12" fmla="*/ 19597 w 21600"/>
                <a:gd name="T13" fmla="*/ 21600 h 21600"/>
                <a:gd name="T14" fmla="*/ 12981 w 21600"/>
                <a:gd name="T15" fmla="*/ 21600 h 21600"/>
                <a:gd name="T16" fmla="*/ 12981 w 21600"/>
                <a:gd name="T17" fmla="*/ 12320 h 21600"/>
                <a:gd name="T18" fmla="*/ 8508 w 21600"/>
                <a:gd name="T19" fmla="*/ 12320 h 21600"/>
                <a:gd name="T20" fmla="*/ 8508 w 21600"/>
                <a:gd name="T21" fmla="*/ 21600 h 21600"/>
                <a:gd name="T22" fmla="*/ 2111 w 21600"/>
                <a:gd name="T23" fmla="*/ 21600 h 21600"/>
                <a:gd name="T24" fmla="*/ 2111 w 21600"/>
                <a:gd name="T25" fmla="*/ 11943 h 21600"/>
                <a:gd name="T26" fmla="*/ 0 w 21600"/>
                <a:gd name="T27" fmla="*/ 11943 h 21600"/>
                <a:gd name="T28" fmla="*/ 3557 w 21600"/>
                <a:gd name="T29" fmla="*/ 2475 h 21600"/>
                <a:gd name="T30" fmla="*/ 6687 w 21600"/>
                <a:gd name="T31" fmla="*/ 2475 h 21600"/>
                <a:gd name="T32" fmla="*/ 6687 w 21600"/>
                <a:gd name="T33" fmla="*/ 0 h 21600"/>
                <a:gd name="T34" fmla="*/ 6687 w 21600"/>
                <a:gd name="T3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600" h="21600">
                  <a:moveTo>
                    <a:pt x="6687" y="0"/>
                  </a:moveTo>
                  <a:lnTo>
                    <a:pt x="8644" y="0"/>
                  </a:lnTo>
                  <a:lnTo>
                    <a:pt x="8644" y="2475"/>
                  </a:lnTo>
                  <a:lnTo>
                    <a:pt x="18665" y="2475"/>
                  </a:lnTo>
                  <a:lnTo>
                    <a:pt x="21600" y="11943"/>
                  </a:lnTo>
                  <a:lnTo>
                    <a:pt x="19597" y="11943"/>
                  </a:lnTo>
                  <a:lnTo>
                    <a:pt x="19597" y="21600"/>
                  </a:lnTo>
                  <a:lnTo>
                    <a:pt x="12981" y="21600"/>
                  </a:lnTo>
                  <a:lnTo>
                    <a:pt x="12981" y="12320"/>
                  </a:lnTo>
                  <a:lnTo>
                    <a:pt x="8508" y="12320"/>
                  </a:lnTo>
                  <a:lnTo>
                    <a:pt x="8508" y="21600"/>
                  </a:lnTo>
                  <a:lnTo>
                    <a:pt x="2111" y="21600"/>
                  </a:lnTo>
                  <a:lnTo>
                    <a:pt x="2111" y="11943"/>
                  </a:lnTo>
                  <a:lnTo>
                    <a:pt x="0" y="11943"/>
                  </a:lnTo>
                  <a:lnTo>
                    <a:pt x="3557" y="2475"/>
                  </a:lnTo>
                  <a:lnTo>
                    <a:pt x="6687" y="2475"/>
                  </a:lnTo>
                  <a:lnTo>
                    <a:pt x="6687" y="0"/>
                  </a:lnTo>
                  <a:close/>
                  <a:moveTo>
                    <a:pt x="6687" y="0"/>
                  </a:moveTo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</p:grpSp>
      <p:grpSp>
        <p:nvGrpSpPr>
          <p:cNvPr id="173" name="Group 172"/>
          <p:cNvGrpSpPr>
            <a:grpSpLocks/>
          </p:cNvGrpSpPr>
          <p:nvPr/>
        </p:nvGrpSpPr>
        <p:grpSpPr bwMode="gray">
          <a:xfrm>
            <a:off x="781060" y="3633788"/>
            <a:ext cx="272029" cy="266685"/>
            <a:chOff x="-347934" y="5552334"/>
            <a:chExt cx="350056" cy="351171"/>
          </a:xfrm>
        </p:grpSpPr>
        <p:sp>
          <p:nvSpPr>
            <p:cNvPr id="174" name="Oval 13"/>
            <p:cNvSpPr>
              <a:spLocks/>
            </p:cNvSpPr>
            <p:nvPr>
              <p:custDataLst>
                <p:tags r:id="rId116"/>
              </p:custDataLst>
            </p:nvPr>
          </p:nvSpPr>
          <p:spPr bwMode="gray">
            <a:xfrm>
              <a:off x="-347934" y="5552334"/>
              <a:ext cx="350056" cy="351171"/>
            </a:xfrm>
            <a:prstGeom prst="ellipse">
              <a:avLst/>
            </a:prstGeom>
            <a:solidFill>
              <a:srgbClr val="FFFFFF"/>
            </a:solidFill>
            <a:ln w="9525" cap="flat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  <p:sp>
          <p:nvSpPr>
            <p:cNvPr id="175" name="Freeform 86"/>
            <p:cNvSpPr>
              <a:spLocks/>
            </p:cNvSpPr>
            <p:nvPr>
              <p:custDataLst>
                <p:tags r:id="rId117"/>
              </p:custDataLst>
            </p:nvPr>
          </p:nvSpPr>
          <p:spPr bwMode="gray">
            <a:xfrm rot="1260000">
              <a:off x="-231978" y="5566556"/>
              <a:ext cx="131271" cy="323821"/>
            </a:xfrm>
            <a:custGeom>
              <a:avLst/>
              <a:gdLst>
                <a:gd name="T0" fmla="+- 0 10325 1978"/>
                <a:gd name="T1" fmla="*/ T0 w 19622"/>
                <a:gd name="T2" fmla="*/ 15 h 21600"/>
                <a:gd name="T3" fmla="+- 0 2449 1978"/>
                <a:gd name="T4" fmla="*/ T3 w 19622"/>
                <a:gd name="T5" fmla="*/ 21600 h 21600"/>
                <a:gd name="T6" fmla="+- 0 21600 1978"/>
                <a:gd name="T7" fmla="*/ T6 w 19622"/>
                <a:gd name="T8" fmla="*/ 20430 h 21600"/>
                <a:gd name="T9" fmla="+- 0 14508 1978"/>
                <a:gd name="T10" fmla="*/ T9 w 19622"/>
                <a:gd name="T11" fmla="*/ 0 h 21600"/>
                <a:gd name="T12" fmla="+- 0 10325 1978"/>
                <a:gd name="T13" fmla="*/ T12 w 19622"/>
                <a:gd name="T14" fmla="*/ 15 h 21600"/>
                <a:gd name="T15" fmla="+- 0 10325 1978"/>
                <a:gd name="T16" fmla="*/ T15 w 19622"/>
                <a:gd name="T17" fmla="*/ 15 h 21600"/>
              </a:gdLst>
              <a:ahLst/>
              <a:cxnLst>
                <a:cxn ang="0">
                  <a:pos x="T1" y="T2"/>
                </a:cxn>
                <a:cxn ang="0">
                  <a:pos x="T4" y="T5"/>
                </a:cxn>
                <a:cxn ang="0">
                  <a:pos x="T7" y="T8"/>
                </a:cxn>
                <a:cxn ang="0">
                  <a:pos x="T10" y="T11"/>
                </a:cxn>
                <a:cxn ang="0">
                  <a:pos x="T13" y="T14"/>
                </a:cxn>
                <a:cxn ang="0">
                  <a:pos x="T16" y="T17"/>
                </a:cxn>
              </a:cxnLst>
              <a:rect l="0" t="0" r="r" b="b"/>
              <a:pathLst>
                <a:path w="19622" h="21600">
                  <a:moveTo>
                    <a:pt x="8347" y="15"/>
                  </a:moveTo>
                  <a:cubicBezTo>
                    <a:pt x="5797" y="3068"/>
                    <a:pt x="-1978" y="18547"/>
                    <a:pt x="471" y="21600"/>
                  </a:cubicBezTo>
                  <a:lnTo>
                    <a:pt x="19622" y="20430"/>
                  </a:lnTo>
                  <a:lnTo>
                    <a:pt x="12530" y="0"/>
                  </a:lnTo>
                  <a:lnTo>
                    <a:pt x="8347" y="15"/>
                  </a:lnTo>
                  <a:close/>
                  <a:moveTo>
                    <a:pt x="8347" y="15"/>
                  </a:moveTo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</p:grpSp>
      <p:grpSp>
        <p:nvGrpSpPr>
          <p:cNvPr id="176" name="Group 175"/>
          <p:cNvGrpSpPr>
            <a:grpSpLocks/>
          </p:cNvGrpSpPr>
          <p:nvPr/>
        </p:nvGrpSpPr>
        <p:grpSpPr bwMode="gray">
          <a:xfrm>
            <a:off x="781060" y="1990735"/>
            <a:ext cx="272029" cy="266685"/>
            <a:chOff x="-385241" y="2637446"/>
            <a:chExt cx="350056" cy="350077"/>
          </a:xfrm>
        </p:grpSpPr>
        <p:sp>
          <p:nvSpPr>
            <p:cNvPr id="177" name="Oval 19"/>
            <p:cNvSpPr>
              <a:spLocks/>
            </p:cNvSpPr>
            <p:nvPr>
              <p:custDataLst>
                <p:tags r:id="rId114"/>
              </p:custDataLst>
            </p:nvPr>
          </p:nvSpPr>
          <p:spPr bwMode="gray">
            <a:xfrm>
              <a:off x="-385241" y="2637446"/>
              <a:ext cx="350056" cy="350077"/>
            </a:xfrm>
            <a:prstGeom prst="ellipse">
              <a:avLst/>
            </a:prstGeom>
            <a:solidFill>
              <a:srgbClr val="FFFFFF"/>
            </a:solidFill>
            <a:ln w="9525" cap="flat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  <p:grpSp>
          <p:nvGrpSpPr>
            <p:cNvPr id="178" name="Group 93"/>
            <p:cNvGrpSpPr>
              <a:grpSpLocks/>
            </p:cNvGrpSpPr>
            <p:nvPr>
              <p:custDataLst>
                <p:tags r:id="rId115"/>
              </p:custDataLst>
            </p:nvPr>
          </p:nvGrpSpPr>
          <p:grpSpPr bwMode="gray">
            <a:xfrm>
              <a:off x="-332733" y="2681206"/>
              <a:ext cx="245039" cy="261464"/>
              <a:chOff x="0" y="0"/>
              <a:chExt cx="223" cy="238"/>
            </a:xfrm>
          </p:grpSpPr>
          <p:sp>
            <p:nvSpPr>
              <p:cNvPr id="179" name="Freeform 87"/>
              <p:cNvSpPr>
                <a:spLocks/>
              </p:cNvSpPr>
              <p:nvPr/>
            </p:nvSpPr>
            <p:spPr bwMode="gray">
              <a:xfrm>
                <a:off x="0" y="0"/>
                <a:ext cx="223" cy="238"/>
              </a:xfrm>
              <a:custGeom>
                <a:avLst/>
                <a:gdLst>
                  <a:gd name="T0" fmla="*/ 18572 w 21600"/>
                  <a:gd name="T1" fmla="*/ 18006 h 21600"/>
                  <a:gd name="T2" fmla="*/ 10902 w 21600"/>
                  <a:gd name="T3" fmla="*/ 21600 h 21600"/>
                  <a:gd name="T4" fmla="*/ 3139 w 21600"/>
                  <a:gd name="T5" fmla="*/ 17930 h 21600"/>
                  <a:gd name="T6" fmla="*/ 3139 w 21600"/>
                  <a:gd name="T7" fmla="*/ 13471 h 21600"/>
                  <a:gd name="T8" fmla="*/ 7915 w 21600"/>
                  <a:gd name="T9" fmla="*/ 15401 h 21600"/>
                  <a:gd name="T10" fmla="*/ 10739 w 21600"/>
                  <a:gd name="T11" fmla="*/ 11608 h 21600"/>
                  <a:gd name="T12" fmla="*/ 10739 w 21600"/>
                  <a:gd name="T13" fmla="*/ 10420 h 21600"/>
                  <a:gd name="T14" fmla="*/ 7884 w 21600"/>
                  <a:gd name="T15" fmla="*/ 14489 h 21600"/>
                  <a:gd name="T16" fmla="*/ 0 w 21600"/>
                  <a:gd name="T17" fmla="*/ 11532 h 21600"/>
                  <a:gd name="T18" fmla="*/ 3373 w 21600"/>
                  <a:gd name="T19" fmla="*/ 7149 h 21600"/>
                  <a:gd name="T20" fmla="*/ 213 w 21600"/>
                  <a:gd name="T21" fmla="*/ 2757 h 21600"/>
                  <a:gd name="T22" fmla="*/ 8514 w 21600"/>
                  <a:gd name="T23" fmla="*/ 428 h 21600"/>
                  <a:gd name="T24" fmla="*/ 11003 w 21600"/>
                  <a:gd name="T25" fmla="*/ 4316 h 21600"/>
                  <a:gd name="T26" fmla="*/ 13563 w 21600"/>
                  <a:gd name="T27" fmla="*/ 0 h 21600"/>
                  <a:gd name="T28" fmla="*/ 21224 w 21600"/>
                  <a:gd name="T29" fmla="*/ 2149 h 21600"/>
                  <a:gd name="T30" fmla="*/ 18603 w 21600"/>
                  <a:gd name="T31" fmla="*/ 7149 h 21600"/>
                  <a:gd name="T32" fmla="*/ 21600 w 21600"/>
                  <a:gd name="T33" fmla="*/ 11513 h 21600"/>
                  <a:gd name="T34" fmla="*/ 14183 w 21600"/>
                  <a:gd name="T35" fmla="*/ 14565 h 21600"/>
                  <a:gd name="T36" fmla="*/ 11440 w 21600"/>
                  <a:gd name="T37" fmla="*/ 10344 h 21600"/>
                  <a:gd name="T38" fmla="*/ 11471 w 21600"/>
                  <a:gd name="T39" fmla="*/ 11475 h 21600"/>
                  <a:gd name="T40" fmla="*/ 13950 w 21600"/>
                  <a:gd name="T41" fmla="*/ 15458 h 21600"/>
                  <a:gd name="T42" fmla="*/ 18583 w 21600"/>
                  <a:gd name="T43" fmla="*/ 13519 h 21600"/>
                  <a:gd name="T44" fmla="*/ 18572 w 21600"/>
                  <a:gd name="T45" fmla="*/ 18006 h 21600"/>
                  <a:gd name="T46" fmla="*/ 18572 w 21600"/>
                  <a:gd name="T47" fmla="*/ 18006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1600" h="21600">
                    <a:moveTo>
                      <a:pt x="18572" y="18006"/>
                    </a:moveTo>
                    <a:lnTo>
                      <a:pt x="10902" y="21600"/>
                    </a:lnTo>
                    <a:lnTo>
                      <a:pt x="3139" y="17930"/>
                    </a:lnTo>
                    <a:lnTo>
                      <a:pt x="3139" y="13471"/>
                    </a:lnTo>
                    <a:lnTo>
                      <a:pt x="7915" y="15401"/>
                    </a:lnTo>
                    <a:lnTo>
                      <a:pt x="10739" y="11608"/>
                    </a:lnTo>
                    <a:lnTo>
                      <a:pt x="10739" y="10420"/>
                    </a:lnTo>
                    <a:lnTo>
                      <a:pt x="7884" y="14489"/>
                    </a:lnTo>
                    <a:lnTo>
                      <a:pt x="0" y="11532"/>
                    </a:lnTo>
                    <a:lnTo>
                      <a:pt x="3373" y="7149"/>
                    </a:lnTo>
                    <a:lnTo>
                      <a:pt x="213" y="2757"/>
                    </a:lnTo>
                    <a:lnTo>
                      <a:pt x="8514" y="428"/>
                    </a:lnTo>
                    <a:lnTo>
                      <a:pt x="11003" y="4316"/>
                    </a:lnTo>
                    <a:lnTo>
                      <a:pt x="13563" y="0"/>
                    </a:lnTo>
                    <a:lnTo>
                      <a:pt x="21224" y="2149"/>
                    </a:lnTo>
                    <a:lnTo>
                      <a:pt x="18603" y="7149"/>
                    </a:lnTo>
                    <a:lnTo>
                      <a:pt x="21600" y="11513"/>
                    </a:lnTo>
                    <a:lnTo>
                      <a:pt x="14183" y="14565"/>
                    </a:lnTo>
                    <a:lnTo>
                      <a:pt x="11440" y="10344"/>
                    </a:lnTo>
                    <a:lnTo>
                      <a:pt x="11471" y="11475"/>
                    </a:lnTo>
                    <a:lnTo>
                      <a:pt x="13950" y="15458"/>
                    </a:lnTo>
                    <a:lnTo>
                      <a:pt x="18583" y="13519"/>
                    </a:lnTo>
                    <a:lnTo>
                      <a:pt x="18572" y="18006"/>
                    </a:lnTo>
                    <a:close/>
                    <a:moveTo>
                      <a:pt x="18572" y="18006"/>
                    </a:move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80" name="Freeform 88"/>
              <p:cNvSpPr>
                <a:spLocks/>
              </p:cNvSpPr>
              <p:nvPr/>
            </p:nvSpPr>
            <p:spPr bwMode="gray">
              <a:xfrm>
                <a:off x="94" y="62"/>
                <a:ext cx="44" cy="20"/>
              </a:xfrm>
              <a:custGeom>
                <a:avLst/>
                <a:gdLst>
                  <a:gd name="T0" fmla="*/ 9635 w 21600"/>
                  <a:gd name="T1" fmla="*/ 0 h 21600"/>
                  <a:gd name="T2" fmla="*/ 7563 w 21600"/>
                  <a:gd name="T3" fmla="*/ 557 h 21600"/>
                  <a:gd name="T4" fmla="*/ 5646 w 21600"/>
                  <a:gd name="T5" fmla="*/ 1336 h 21600"/>
                  <a:gd name="T6" fmla="*/ 3937 w 21600"/>
                  <a:gd name="T7" fmla="*/ 2449 h 21600"/>
                  <a:gd name="T8" fmla="*/ 2435 w 21600"/>
                  <a:gd name="T9" fmla="*/ 4008 h 21600"/>
                  <a:gd name="T10" fmla="*/ 1295 w 21600"/>
                  <a:gd name="T11" fmla="*/ 5678 h 21600"/>
                  <a:gd name="T12" fmla="*/ 466 w 21600"/>
                  <a:gd name="T13" fmla="*/ 7571 h 21600"/>
                  <a:gd name="T14" fmla="*/ 52 w 21600"/>
                  <a:gd name="T15" fmla="*/ 9575 h 21600"/>
                  <a:gd name="T16" fmla="*/ 52 w 21600"/>
                  <a:gd name="T17" fmla="*/ 11913 h 21600"/>
                  <a:gd name="T18" fmla="*/ 466 w 21600"/>
                  <a:gd name="T19" fmla="*/ 14029 h 21600"/>
                  <a:gd name="T20" fmla="*/ 1295 w 21600"/>
                  <a:gd name="T21" fmla="*/ 15922 h 21600"/>
                  <a:gd name="T22" fmla="*/ 2435 w 21600"/>
                  <a:gd name="T23" fmla="*/ 17592 h 21600"/>
                  <a:gd name="T24" fmla="*/ 3937 w 21600"/>
                  <a:gd name="T25" fmla="*/ 19151 h 21600"/>
                  <a:gd name="T26" fmla="*/ 5646 w 21600"/>
                  <a:gd name="T27" fmla="*/ 20264 h 21600"/>
                  <a:gd name="T28" fmla="*/ 7563 w 21600"/>
                  <a:gd name="T29" fmla="*/ 21043 h 21600"/>
                  <a:gd name="T30" fmla="*/ 9635 w 21600"/>
                  <a:gd name="T31" fmla="*/ 21600 h 21600"/>
                  <a:gd name="T32" fmla="*/ 11914 w 21600"/>
                  <a:gd name="T33" fmla="*/ 21600 h 21600"/>
                  <a:gd name="T34" fmla="*/ 14037 w 21600"/>
                  <a:gd name="T35" fmla="*/ 21043 h 21600"/>
                  <a:gd name="T36" fmla="*/ 16006 w 21600"/>
                  <a:gd name="T37" fmla="*/ 20264 h 21600"/>
                  <a:gd name="T38" fmla="*/ 17715 w 21600"/>
                  <a:gd name="T39" fmla="*/ 19151 h 21600"/>
                  <a:gd name="T40" fmla="*/ 19165 w 21600"/>
                  <a:gd name="T41" fmla="*/ 17592 h 21600"/>
                  <a:gd name="T42" fmla="*/ 20253 w 21600"/>
                  <a:gd name="T43" fmla="*/ 15922 h 21600"/>
                  <a:gd name="T44" fmla="*/ 21134 w 21600"/>
                  <a:gd name="T45" fmla="*/ 14029 h 21600"/>
                  <a:gd name="T46" fmla="*/ 21548 w 21600"/>
                  <a:gd name="T47" fmla="*/ 11913 h 21600"/>
                  <a:gd name="T48" fmla="*/ 21548 w 21600"/>
                  <a:gd name="T49" fmla="*/ 9575 h 21600"/>
                  <a:gd name="T50" fmla="*/ 21134 w 21600"/>
                  <a:gd name="T51" fmla="*/ 7571 h 21600"/>
                  <a:gd name="T52" fmla="*/ 20253 w 21600"/>
                  <a:gd name="T53" fmla="*/ 5678 h 21600"/>
                  <a:gd name="T54" fmla="*/ 19165 w 21600"/>
                  <a:gd name="T55" fmla="*/ 4008 h 21600"/>
                  <a:gd name="T56" fmla="*/ 17715 w 21600"/>
                  <a:gd name="T57" fmla="*/ 2449 h 21600"/>
                  <a:gd name="T58" fmla="*/ 16006 w 21600"/>
                  <a:gd name="T59" fmla="*/ 1336 h 21600"/>
                  <a:gd name="T60" fmla="*/ 14037 w 21600"/>
                  <a:gd name="T61" fmla="*/ 557 h 21600"/>
                  <a:gd name="T62" fmla="*/ 11914 w 21600"/>
                  <a:gd name="T63" fmla="*/ 0 h 21600"/>
                  <a:gd name="T64" fmla="*/ 10774 w 21600"/>
                  <a:gd name="T65" fmla="*/ 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600" h="21600">
                    <a:moveTo>
                      <a:pt x="10774" y="0"/>
                    </a:moveTo>
                    <a:lnTo>
                      <a:pt x="9635" y="0"/>
                    </a:lnTo>
                    <a:lnTo>
                      <a:pt x="8650" y="223"/>
                    </a:lnTo>
                    <a:lnTo>
                      <a:pt x="7563" y="557"/>
                    </a:lnTo>
                    <a:lnTo>
                      <a:pt x="6630" y="891"/>
                    </a:lnTo>
                    <a:lnTo>
                      <a:pt x="5646" y="1336"/>
                    </a:lnTo>
                    <a:lnTo>
                      <a:pt x="4765" y="1781"/>
                    </a:lnTo>
                    <a:lnTo>
                      <a:pt x="3937" y="2449"/>
                    </a:lnTo>
                    <a:lnTo>
                      <a:pt x="3160" y="3229"/>
                    </a:lnTo>
                    <a:lnTo>
                      <a:pt x="2435" y="4008"/>
                    </a:lnTo>
                    <a:lnTo>
                      <a:pt x="1865" y="4788"/>
                    </a:lnTo>
                    <a:lnTo>
                      <a:pt x="1295" y="5678"/>
                    </a:lnTo>
                    <a:lnTo>
                      <a:pt x="829" y="6569"/>
                    </a:lnTo>
                    <a:lnTo>
                      <a:pt x="466" y="7571"/>
                    </a:lnTo>
                    <a:lnTo>
                      <a:pt x="259" y="8573"/>
                    </a:lnTo>
                    <a:lnTo>
                      <a:pt x="52" y="9575"/>
                    </a:lnTo>
                    <a:lnTo>
                      <a:pt x="0" y="10800"/>
                    </a:lnTo>
                    <a:lnTo>
                      <a:pt x="52" y="11913"/>
                    </a:lnTo>
                    <a:lnTo>
                      <a:pt x="259" y="12915"/>
                    </a:lnTo>
                    <a:lnTo>
                      <a:pt x="466" y="14029"/>
                    </a:lnTo>
                    <a:lnTo>
                      <a:pt x="829" y="15031"/>
                    </a:lnTo>
                    <a:lnTo>
                      <a:pt x="1295" y="15922"/>
                    </a:lnTo>
                    <a:lnTo>
                      <a:pt x="1865" y="16812"/>
                    </a:lnTo>
                    <a:lnTo>
                      <a:pt x="2435" y="17592"/>
                    </a:lnTo>
                    <a:lnTo>
                      <a:pt x="3160" y="18371"/>
                    </a:lnTo>
                    <a:lnTo>
                      <a:pt x="3937" y="19151"/>
                    </a:lnTo>
                    <a:lnTo>
                      <a:pt x="4765" y="19707"/>
                    </a:lnTo>
                    <a:lnTo>
                      <a:pt x="5646" y="20264"/>
                    </a:lnTo>
                    <a:lnTo>
                      <a:pt x="6630" y="20709"/>
                    </a:lnTo>
                    <a:lnTo>
                      <a:pt x="7563" y="21043"/>
                    </a:lnTo>
                    <a:lnTo>
                      <a:pt x="8650" y="21266"/>
                    </a:lnTo>
                    <a:lnTo>
                      <a:pt x="9635" y="21600"/>
                    </a:lnTo>
                    <a:lnTo>
                      <a:pt x="10774" y="21600"/>
                    </a:lnTo>
                    <a:lnTo>
                      <a:pt x="11914" y="21600"/>
                    </a:lnTo>
                    <a:lnTo>
                      <a:pt x="13001" y="21266"/>
                    </a:lnTo>
                    <a:lnTo>
                      <a:pt x="14037" y="21043"/>
                    </a:lnTo>
                    <a:lnTo>
                      <a:pt x="15022" y="20709"/>
                    </a:lnTo>
                    <a:lnTo>
                      <a:pt x="16006" y="20264"/>
                    </a:lnTo>
                    <a:lnTo>
                      <a:pt x="16886" y="19707"/>
                    </a:lnTo>
                    <a:lnTo>
                      <a:pt x="17715" y="19151"/>
                    </a:lnTo>
                    <a:lnTo>
                      <a:pt x="18440" y="18371"/>
                    </a:lnTo>
                    <a:lnTo>
                      <a:pt x="19165" y="17592"/>
                    </a:lnTo>
                    <a:lnTo>
                      <a:pt x="19735" y="16812"/>
                    </a:lnTo>
                    <a:lnTo>
                      <a:pt x="20253" y="15922"/>
                    </a:lnTo>
                    <a:lnTo>
                      <a:pt x="20771" y="15031"/>
                    </a:lnTo>
                    <a:lnTo>
                      <a:pt x="21134" y="14029"/>
                    </a:lnTo>
                    <a:lnTo>
                      <a:pt x="21341" y="12915"/>
                    </a:lnTo>
                    <a:lnTo>
                      <a:pt x="21548" y="11913"/>
                    </a:lnTo>
                    <a:lnTo>
                      <a:pt x="21600" y="10800"/>
                    </a:lnTo>
                    <a:lnTo>
                      <a:pt x="21548" y="9575"/>
                    </a:lnTo>
                    <a:lnTo>
                      <a:pt x="21341" y="8573"/>
                    </a:lnTo>
                    <a:lnTo>
                      <a:pt x="21134" y="7571"/>
                    </a:lnTo>
                    <a:lnTo>
                      <a:pt x="20771" y="6569"/>
                    </a:lnTo>
                    <a:lnTo>
                      <a:pt x="20253" y="5678"/>
                    </a:lnTo>
                    <a:lnTo>
                      <a:pt x="19735" y="4788"/>
                    </a:lnTo>
                    <a:lnTo>
                      <a:pt x="19165" y="4008"/>
                    </a:lnTo>
                    <a:lnTo>
                      <a:pt x="18440" y="3229"/>
                    </a:lnTo>
                    <a:lnTo>
                      <a:pt x="17715" y="2449"/>
                    </a:lnTo>
                    <a:lnTo>
                      <a:pt x="16886" y="1781"/>
                    </a:lnTo>
                    <a:lnTo>
                      <a:pt x="16006" y="1336"/>
                    </a:lnTo>
                    <a:lnTo>
                      <a:pt x="15022" y="891"/>
                    </a:lnTo>
                    <a:lnTo>
                      <a:pt x="14037" y="557"/>
                    </a:lnTo>
                    <a:lnTo>
                      <a:pt x="13001" y="223"/>
                    </a:lnTo>
                    <a:lnTo>
                      <a:pt x="11914" y="0"/>
                    </a:lnTo>
                    <a:lnTo>
                      <a:pt x="10774" y="0"/>
                    </a:lnTo>
                    <a:close/>
                    <a:moveTo>
                      <a:pt x="10774" y="0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81" name="Freeform 89"/>
              <p:cNvSpPr>
                <a:spLocks/>
              </p:cNvSpPr>
              <p:nvPr/>
            </p:nvSpPr>
            <p:spPr bwMode="gray">
              <a:xfrm>
                <a:off x="94" y="62"/>
                <a:ext cx="44" cy="20"/>
              </a:xfrm>
              <a:custGeom>
                <a:avLst/>
                <a:gdLst>
                  <a:gd name="T0" fmla="*/ 9635 w 21600"/>
                  <a:gd name="T1" fmla="*/ 21600 h 21600"/>
                  <a:gd name="T2" fmla="*/ 7563 w 21600"/>
                  <a:gd name="T3" fmla="*/ 21043 h 21600"/>
                  <a:gd name="T4" fmla="*/ 5646 w 21600"/>
                  <a:gd name="T5" fmla="*/ 20264 h 21600"/>
                  <a:gd name="T6" fmla="*/ 3937 w 21600"/>
                  <a:gd name="T7" fmla="*/ 19151 h 21600"/>
                  <a:gd name="T8" fmla="*/ 2435 w 21600"/>
                  <a:gd name="T9" fmla="*/ 17592 h 21600"/>
                  <a:gd name="T10" fmla="*/ 1295 w 21600"/>
                  <a:gd name="T11" fmla="*/ 15922 h 21600"/>
                  <a:gd name="T12" fmla="*/ 466 w 21600"/>
                  <a:gd name="T13" fmla="*/ 14029 h 21600"/>
                  <a:gd name="T14" fmla="*/ 52 w 21600"/>
                  <a:gd name="T15" fmla="*/ 11913 h 21600"/>
                  <a:gd name="T16" fmla="*/ 52 w 21600"/>
                  <a:gd name="T17" fmla="*/ 9575 h 21600"/>
                  <a:gd name="T18" fmla="*/ 466 w 21600"/>
                  <a:gd name="T19" fmla="*/ 7571 h 21600"/>
                  <a:gd name="T20" fmla="*/ 1295 w 21600"/>
                  <a:gd name="T21" fmla="*/ 5678 h 21600"/>
                  <a:gd name="T22" fmla="*/ 2435 w 21600"/>
                  <a:gd name="T23" fmla="*/ 4008 h 21600"/>
                  <a:gd name="T24" fmla="*/ 3937 w 21600"/>
                  <a:gd name="T25" fmla="*/ 2449 h 21600"/>
                  <a:gd name="T26" fmla="*/ 5646 w 21600"/>
                  <a:gd name="T27" fmla="*/ 1336 h 21600"/>
                  <a:gd name="T28" fmla="*/ 7563 w 21600"/>
                  <a:gd name="T29" fmla="*/ 557 h 21600"/>
                  <a:gd name="T30" fmla="*/ 9635 w 21600"/>
                  <a:gd name="T31" fmla="*/ 0 h 21600"/>
                  <a:gd name="T32" fmla="*/ 11914 w 21600"/>
                  <a:gd name="T33" fmla="*/ 0 h 21600"/>
                  <a:gd name="T34" fmla="*/ 14037 w 21600"/>
                  <a:gd name="T35" fmla="*/ 557 h 21600"/>
                  <a:gd name="T36" fmla="*/ 16006 w 21600"/>
                  <a:gd name="T37" fmla="*/ 1336 h 21600"/>
                  <a:gd name="T38" fmla="*/ 17715 w 21600"/>
                  <a:gd name="T39" fmla="*/ 2449 h 21600"/>
                  <a:gd name="T40" fmla="*/ 19165 w 21600"/>
                  <a:gd name="T41" fmla="*/ 4008 h 21600"/>
                  <a:gd name="T42" fmla="*/ 20253 w 21600"/>
                  <a:gd name="T43" fmla="*/ 5678 h 21600"/>
                  <a:gd name="T44" fmla="*/ 21134 w 21600"/>
                  <a:gd name="T45" fmla="*/ 7571 h 21600"/>
                  <a:gd name="T46" fmla="*/ 21548 w 21600"/>
                  <a:gd name="T47" fmla="*/ 9575 h 21600"/>
                  <a:gd name="T48" fmla="*/ 21548 w 21600"/>
                  <a:gd name="T49" fmla="*/ 11913 h 21600"/>
                  <a:gd name="T50" fmla="*/ 21134 w 21600"/>
                  <a:gd name="T51" fmla="*/ 14029 h 21600"/>
                  <a:gd name="T52" fmla="*/ 20253 w 21600"/>
                  <a:gd name="T53" fmla="*/ 15922 h 21600"/>
                  <a:gd name="T54" fmla="*/ 19165 w 21600"/>
                  <a:gd name="T55" fmla="*/ 17592 h 21600"/>
                  <a:gd name="T56" fmla="*/ 17715 w 21600"/>
                  <a:gd name="T57" fmla="*/ 19151 h 21600"/>
                  <a:gd name="T58" fmla="*/ 16006 w 21600"/>
                  <a:gd name="T59" fmla="*/ 20264 h 21600"/>
                  <a:gd name="T60" fmla="*/ 14037 w 21600"/>
                  <a:gd name="T61" fmla="*/ 21043 h 21600"/>
                  <a:gd name="T62" fmla="*/ 11914 w 21600"/>
                  <a:gd name="T63" fmla="*/ 21600 h 21600"/>
                  <a:gd name="T64" fmla="*/ 10774 w 21600"/>
                  <a:gd name="T6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600" h="21600">
                    <a:moveTo>
                      <a:pt x="10774" y="21600"/>
                    </a:moveTo>
                    <a:lnTo>
                      <a:pt x="9635" y="21600"/>
                    </a:lnTo>
                    <a:lnTo>
                      <a:pt x="8650" y="21266"/>
                    </a:lnTo>
                    <a:lnTo>
                      <a:pt x="7563" y="21043"/>
                    </a:lnTo>
                    <a:lnTo>
                      <a:pt x="6630" y="20709"/>
                    </a:lnTo>
                    <a:lnTo>
                      <a:pt x="5646" y="20264"/>
                    </a:lnTo>
                    <a:lnTo>
                      <a:pt x="4765" y="19707"/>
                    </a:lnTo>
                    <a:lnTo>
                      <a:pt x="3937" y="19151"/>
                    </a:lnTo>
                    <a:lnTo>
                      <a:pt x="3160" y="18371"/>
                    </a:lnTo>
                    <a:lnTo>
                      <a:pt x="2435" y="17592"/>
                    </a:lnTo>
                    <a:lnTo>
                      <a:pt x="1865" y="16812"/>
                    </a:lnTo>
                    <a:lnTo>
                      <a:pt x="1295" y="15922"/>
                    </a:lnTo>
                    <a:lnTo>
                      <a:pt x="829" y="15031"/>
                    </a:lnTo>
                    <a:lnTo>
                      <a:pt x="466" y="14029"/>
                    </a:lnTo>
                    <a:lnTo>
                      <a:pt x="259" y="12915"/>
                    </a:lnTo>
                    <a:lnTo>
                      <a:pt x="52" y="11913"/>
                    </a:lnTo>
                    <a:lnTo>
                      <a:pt x="0" y="10800"/>
                    </a:lnTo>
                    <a:lnTo>
                      <a:pt x="52" y="9575"/>
                    </a:lnTo>
                    <a:lnTo>
                      <a:pt x="259" y="8573"/>
                    </a:lnTo>
                    <a:lnTo>
                      <a:pt x="466" y="7571"/>
                    </a:lnTo>
                    <a:lnTo>
                      <a:pt x="829" y="6569"/>
                    </a:lnTo>
                    <a:lnTo>
                      <a:pt x="1295" y="5678"/>
                    </a:lnTo>
                    <a:lnTo>
                      <a:pt x="1865" y="4788"/>
                    </a:lnTo>
                    <a:lnTo>
                      <a:pt x="2435" y="4008"/>
                    </a:lnTo>
                    <a:lnTo>
                      <a:pt x="3160" y="3229"/>
                    </a:lnTo>
                    <a:lnTo>
                      <a:pt x="3937" y="2449"/>
                    </a:lnTo>
                    <a:lnTo>
                      <a:pt x="4765" y="1781"/>
                    </a:lnTo>
                    <a:lnTo>
                      <a:pt x="5646" y="1336"/>
                    </a:lnTo>
                    <a:lnTo>
                      <a:pt x="6630" y="891"/>
                    </a:lnTo>
                    <a:lnTo>
                      <a:pt x="7563" y="557"/>
                    </a:lnTo>
                    <a:lnTo>
                      <a:pt x="8650" y="223"/>
                    </a:lnTo>
                    <a:lnTo>
                      <a:pt x="9635" y="0"/>
                    </a:lnTo>
                    <a:lnTo>
                      <a:pt x="10774" y="0"/>
                    </a:lnTo>
                    <a:lnTo>
                      <a:pt x="11914" y="0"/>
                    </a:lnTo>
                    <a:lnTo>
                      <a:pt x="13001" y="223"/>
                    </a:lnTo>
                    <a:lnTo>
                      <a:pt x="14037" y="557"/>
                    </a:lnTo>
                    <a:lnTo>
                      <a:pt x="15022" y="891"/>
                    </a:lnTo>
                    <a:lnTo>
                      <a:pt x="16006" y="1336"/>
                    </a:lnTo>
                    <a:lnTo>
                      <a:pt x="16886" y="1781"/>
                    </a:lnTo>
                    <a:lnTo>
                      <a:pt x="17715" y="2449"/>
                    </a:lnTo>
                    <a:lnTo>
                      <a:pt x="18440" y="3229"/>
                    </a:lnTo>
                    <a:lnTo>
                      <a:pt x="19165" y="4008"/>
                    </a:lnTo>
                    <a:lnTo>
                      <a:pt x="19735" y="4788"/>
                    </a:lnTo>
                    <a:lnTo>
                      <a:pt x="20253" y="5678"/>
                    </a:lnTo>
                    <a:lnTo>
                      <a:pt x="20771" y="6569"/>
                    </a:lnTo>
                    <a:lnTo>
                      <a:pt x="21134" y="7571"/>
                    </a:lnTo>
                    <a:lnTo>
                      <a:pt x="21341" y="8573"/>
                    </a:lnTo>
                    <a:lnTo>
                      <a:pt x="21548" y="9575"/>
                    </a:lnTo>
                    <a:lnTo>
                      <a:pt x="21600" y="10800"/>
                    </a:lnTo>
                    <a:lnTo>
                      <a:pt x="21548" y="11913"/>
                    </a:lnTo>
                    <a:lnTo>
                      <a:pt x="21341" y="12915"/>
                    </a:lnTo>
                    <a:lnTo>
                      <a:pt x="21134" y="14029"/>
                    </a:lnTo>
                    <a:lnTo>
                      <a:pt x="20771" y="15031"/>
                    </a:lnTo>
                    <a:lnTo>
                      <a:pt x="20253" y="15922"/>
                    </a:lnTo>
                    <a:lnTo>
                      <a:pt x="19735" y="16812"/>
                    </a:lnTo>
                    <a:lnTo>
                      <a:pt x="19165" y="17592"/>
                    </a:lnTo>
                    <a:lnTo>
                      <a:pt x="18440" y="18371"/>
                    </a:lnTo>
                    <a:lnTo>
                      <a:pt x="17715" y="19151"/>
                    </a:lnTo>
                    <a:lnTo>
                      <a:pt x="16886" y="19707"/>
                    </a:lnTo>
                    <a:lnTo>
                      <a:pt x="16006" y="20264"/>
                    </a:lnTo>
                    <a:lnTo>
                      <a:pt x="15022" y="20709"/>
                    </a:lnTo>
                    <a:lnTo>
                      <a:pt x="14037" y="21043"/>
                    </a:lnTo>
                    <a:lnTo>
                      <a:pt x="13001" y="21266"/>
                    </a:lnTo>
                    <a:lnTo>
                      <a:pt x="11914" y="21600"/>
                    </a:lnTo>
                    <a:lnTo>
                      <a:pt x="10774" y="21600"/>
                    </a:lnTo>
                    <a:close/>
                    <a:moveTo>
                      <a:pt x="10774" y="21600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82" name="Freeform 90"/>
              <p:cNvSpPr>
                <a:spLocks/>
              </p:cNvSpPr>
              <p:nvPr/>
            </p:nvSpPr>
            <p:spPr bwMode="gray">
              <a:xfrm>
                <a:off x="137" y="76"/>
                <a:ext cx="43" cy="19"/>
              </a:xfrm>
              <a:custGeom>
                <a:avLst/>
                <a:gdLst>
                  <a:gd name="T0" fmla="*/ 10958 w 21600"/>
                  <a:gd name="T1" fmla="*/ 0 h 21600"/>
                  <a:gd name="T2" fmla="*/ 11906 w 21600"/>
                  <a:gd name="T3" fmla="*/ 0 h 21600"/>
                  <a:gd name="T4" fmla="*/ 12802 w 21600"/>
                  <a:gd name="T5" fmla="*/ 116 h 21600"/>
                  <a:gd name="T6" fmla="*/ 13750 w 21600"/>
                  <a:gd name="T7" fmla="*/ 348 h 21600"/>
                  <a:gd name="T8" fmla="*/ 14646 w 21600"/>
                  <a:gd name="T9" fmla="*/ 581 h 21600"/>
                  <a:gd name="T10" fmla="*/ 15436 w 21600"/>
                  <a:gd name="T11" fmla="*/ 1045 h 21600"/>
                  <a:gd name="T12" fmla="*/ 16279 w 21600"/>
                  <a:gd name="T13" fmla="*/ 1394 h 21600"/>
                  <a:gd name="T14" fmla="*/ 17017 w 21600"/>
                  <a:gd name="T15" fmla="*/ 1858 h 21600"/>
                  <a:gd name="T16" fmla="*/ 17754 w 21600"/>
                  <a:gd name="T17" fmla="*/ 2323 h 21600"/>
                  <a:gd name="T18" fmla="*/ 18492 w 21600"/>
                  <a:gd name="T19" fmla="*/ 3019 h 21600"/>
                  <a:gd name="T20" fmla="*/ 19071 w 21600"/>
                  <a:gd name="T21" fmla="*/ 3716 h 21600"/>
                  <a:gd name="T22" fmla="*/ 19598 w 21600"/>
                  <a:gd name="T23" fmla="*/ 4413 h 21600"/>
                  <a:gd name="T24" fmla="*/ 20178 w 21600"/>
                  <a:gd name="T25" fmla="*/ 5226 h 21600"/>
                  <a:gd name="T26" fmla="*/ 20652 w 21600"/>
                  <a:gd name="T27" fmla="*/ 6039 h 21600"/>
                  <a:gd name="T28" fmla="*/ 21020 w 21600"/>
                  <a:gd name="T29" fmla="*/ 6735 h 21600"/>
                  <a:gd name="T30" fmla="*/ 21389 w 21600"/>
                  <a:gd name="T31" fmla="*/ 7548 h 21600"/>
                  <a:gd name="T32" fmla="*/ 21600 w 21600"/>
                  <a:gd name="T33" fmla="*/ 8477 h 21600"/>
                  <a:gd name="T34" fmla="*/ 7007 w 21600"/>
                  <a:gd name="T35" fmla="*/ 21600 h 21600"/>
                  <a:gd name="T36" fmla="*/ 5532 w 21600"/>
                  <a:gd name="T37" fmla="*/ 21019 h 21600"/>
                  <a:gd name="T38" fmla="*/ 4162 w 21600"/>
                  <a:gd name="T39" fmla="*/ 20090 h 21600"/>
                  <a:gd name="T40" fmla="*/ 3003 w 21600"/>
                  <a:gd name="T41" fmla="*/ 18929 h 21600"/>
                  <a:gd name="T42" fmla="*/ 1949 w 21600"/>
                  <a:gd name="T43" fmla="*/ 17652 h 21600"/>
                  <a:gd name="T44" fmla="*/ 1106 w 21600"/>
                  <a:gd name="T45" fmla="*/ 16142 h 21600"/>
                  <a:gd name="T46" fmla="*/ 527 w 21600"/>
                  <a:gd name="T47" fmla="*/ 14632 h 21600"/>
                  <a:gd name="T48" fmla="*/ 158 w 21600"/>
                  <a:gd name="T49" fmla="*/ 12890 h 21600"/>
                  <a:gd name="T50" fmla="*/ 0 w 21600"/>
                  <a:gd name="T51" fmla="*/ 11148 h 21600"/>
                  <a:gd name="T52" fmla="*/ 105 w 21600"/>
                  <a:gd name="T53" fmla="*/ 9987 h 21600"/>
                  <a:gd name="T54" fmla="*/ 263 w 21600"/>
                  <a:gd name="T55" fmla="*/ 8942 h 21600"/>
                  <a:gd name="T56" fmla="*/ 527 w 21600"/>
                  <a:gd name="T57" fmla="*/ 7897 h 21600"/>
                  <a:gd name="T58" fmla="*/ 896 w 21600"/>
                  <a:gd name="T59" fmla="*/ 6735 h 21600"/>
                  <a:gd name="T60" fmla="*/ 1370 w 21600"/>
                  <a:gd name="T61" fmla="*/ 5806 h 21600"/>
                  <a:gd name="T62" fmla="*/ 1897 w 21600"/>
                  <a:gd name="T63" fmla="*/ 4877 h 21600"/>
                  <a:gd name="T64" fmla="*/ 2529 w 21600"/>
                  <a:gd name="T65" fmla="*/ 4065 h 21600"/>
                  <a:gd name="T66" fmla="*/ 3214 w 21600"/>
                  <a:gd name="T67" fmla="*/ 3252 h 21600"/>
                  <a:gd name="T68" fmla="*/ 3951 w 21600"/>
                  <a:gd name="T69" fmla="*/ 2555 h 21600"/>
                  <a:gd name="T70" fmla="*/ 4794 w 21600"/>
                  <a:gd name="T71" fmla="*/ 1858 h 21600"/>
                  <a:gd name="T72" fmla="*/ 5742 w 21600"/>
                  <a:gd name="T73" fmla="*/ 1277 h 21600"/>
                  <a:gd name="T74" fmla="*/ 6691 w 21600"/>
                  <a:gd name="T75" fmla="*/ 929 h 21600"/>
                  <a:gd name="T76" fmla="*/ 7692 w 21600"/>
                  <a:gd name="T77" fmla="*/ 465 h 21600"/>
                  <a:gd name="T78" fmla="*/ 8745 w 21600"/>
                  <a:gd name="T79" fmla="*/ 232 h 21600"/>
                  <a:gd name="T80" fmla="*/ 9799 w 21600"/>
                  <a:gd name="T81" fmla="*/ 0 h 21600"/>
                  <a:gd name="T82" fmla="*/ 10958 w 21600"/>
                  <a:gd name="T83" fmla="*/ 0 h 21600"/>
                  <a:gd name="T84" fmla="*/ 10958 w 21600"/>
                  <a:gd name="T85" fmla="*/ 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1600" h="21600">
                    <a:moveTo>
                      <a:pt x="10958" y="0"/>
                    </a:moveTo>
                    <a:lnTo>
                      <a:pt x="11906" y="0"/>
                    </a:lnTo>
                    <a:lnTo>
                      <a:pt x="12802" y="116"/>
                    </a:lnTo>
                    <a:lnTo>
                      <a:pt x="13750" y="348"/>
                    </a:lnTo>
                    <a:lnTo>
                      <a:pt x="14646" y="581"/>
                    </a:lnTo>
                    <a:lnTo>
                      <a:pt x="15436" y="1045"/>
                    </a:lnTo>
                    <a:lnTo>
                      <a:pt x="16279" y="1394"/>
                    </a:lnTo>
                    <a:lnTo>
                      <a:pt x="17017" y="1858"/>
                    </a:lnTo>
                    <a:lnTo>
                      <a:pt x="17754" y="2323"/>
                    </a:lnTo>
                    <a:lnTo>
                      <a:pt x="18492" y="3019"/>
                    </a:lnTo>
                    <a:lnTo>
                      <a:pt x="19071" y="3716"/>
                    </a:lnTo>
                    <a:lnTo>
                      <a:pt x="19598" y="4413"/>
                    </a:lnTo>
                    <a:lnTo>
                      <a:pt x="20178" y="5226"/>
                    </a:lnTo>
                    <a:lnTo>
                      <a:pt x="20652" y="6039"/>
                    </a:lnTo>
                    <a:lnTo>
                      <a:pt x="21020" y="6735"/>
                    </a:lnTo>
                    <a:lnTo>
                      <a:pt x="21389" y="7548"/>
                    </a:lnTo>
                    <a:lnTo>
                      <a:pt x="21600" y="8477"/>
                    </a:lnTo>
                    <a:lnTo>
                      <a:pt x="7007" y="21600"/>
                    </a:lnTo>
                    <a:lnTo>
                      <a:pt x="5532" y="21019"/>
                    </a:lnTo>
                    <a:lnTo>
                      <a:pt x="4162" y="20090"/>
                    </a:lnTo>
                    <a:lnTo>
                      <a:pt x="3003" y="18929"/>
                    </a:lnTo>
                    <a:lnTo>
                      <a:pt x="1949" y="17652"/>
                    </a:lnTo>
                    <a:lnTo>
                      <a:pt x="1106" y="16142"/>
                    </a:lnTo>
                    <a:lnTo>
                      <a:pt x="527" y="14632"/>
                    </a:lnTo>
                    <a:lnTo>
                      <a:pt x="158" y="12890"/>
                    </a:lnTo>
                    <a:lnTo>
                      <a:pt x="0" y="11148"/>
                    </a:lnTo>
                    <a:lnTo>
                      <a:pt x="105" y="9987"/>
                    </a:lnTo>
                    <a:lnTo>
                      <a:pt x="263" y="8942"/>
                    </a:lnTo>
                    <a:lnTo>
                      <a:pt x="527" y="7897"/>
                    </a:lnTo>
                    <a:lnTo>
                      <a:pt x="896" y="6735"/>
                    </a:lnTo>
                    <a:lnTo>
                      <a:pt x="1370" y="5806"/>
                    </a:lnTo>
                    <a:lnTo>
                      <a:pt x="1897" y="4877"/>
                    </a:lnTo>
                    <a:lnTo>
                      <a:pt x="2529" y="4065"/>
                    </a:lnTo>
                    <a:lnTo>
                      <a:pt x="3214" y="3252"/>
                    </a:lnTo>
                    <a:lnTo>
                      <a:pt x="3951" y="2555"/>
                    </a:lnTo>
                    <a:lnTo>
                      <a:pt x="4794" y="1858"/>
                    </a:lnTo>
                    <a:lnTo>
                      <a:pt x="5742" y="1277"/>
                    </a:lnTo>
                    <a:lnTo>
                      <a:pt x="6691" y="929"/>
                    </a:lnTo>
                    <a:lnTo>
                      <a:pt x="7692" y="465"/>
                    </a:lnTo>
                    <a:lnTo>
                      <a:pt x="8745" y="232"/>
                    </a:lnTo>
                    <a:lnTo>
                      <a:pt x="9799" y="0"/>
                    </a:lnTo>
                    <a:lnTo>
                      <a:pt x="10958" y="0"/>
                    </a:lnTo>
                    <a:close/>
                    <a:moveTo>
                      <a:pt x="10958" y="0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83" name="Freeform 91"/>
              <p:cNvSpPr>
                <a:spLocks/>
              </p:cNvSpPr>
              <p:nvPr/>
            </p:nvSpPr>
            <p:spPr bwMode="gray">
              <a:xfrm>
                <a:off x="51" y="78"/>
                <a:ext cx="44" cy="18"/>
              </a:xfrm>
              <a:custGeom>
                <a:avLst/>
                <a:gdLst>
                  <a:gd name="T0" fmla="*/ 0 w 21600"/>
                  <a:gd name="T1" fmla="*/ 9101 h 21600"/>
                  <a:gd name="T2" fmla="*/ 210 w 21600"/>
                  <a:gd name="T3" fmla="*/ 8130 h 21600"/>
                  <a:gd name="T4" fmla="*/ 524 w 21600"/>
                  <a:gd name="T5" fmla="*/ 7281 h 21600"/>
                  <a:gd name="T6" fmla="*/ 944 w 21600"/>
                  <a:gd name="T7" fmla="*/ 6310 h 21600"/>
                  <a:gd name="T8" fmla="*/ 1363 w 21600"/>
                  <a:gd name="T9" fmla="*/ 5461 h 21600"/>
                  <a:gd name="T10" fmla="*/ 1940 w 21600"/>
                  <a:gd name="T11" fmla="*/ 4733 h 21600"/>
                  <a:gd name="T12" fmla="*/ 2464 w 21600"/>
                  <a:gd name="T13" fmla="*/ 3883 h 21600"/>
                  <a:gd name="T14" fmla="*/ 3146 w 21600"/>
                  <a:gd name="T15" fmla="*/ 3276 h 21600"/>
                  <a:gd name="T16" fmla="*/ 3775 w 21600"/>
                  <a:gd name="T17" fmla="*/ 2670 h 21600"/>
                  <a:gd name="T18" fmla="*/ 4509 w 21600"/>
                  <a:gd name="T19" fmla="*/ 1942 h 21600"/>
                  <a:gd name="T20" fmla="*/ 5295 w 21600"/>
                  <a:gd name="T21" fmla="*/ 1578 h 21600"/>
                  <a:gd name="T22" fmla="*/ 6082 w 21600"/>
                  <a:gd name="T23" fmla="*/ 1092 h 21600"/>
                  <a:gd name="T24" fmla="*/ 6920 w 21600"/>
                  <a:gd name="T25" fmla="*/ 728 h 21600"/>
                  <a:gd name="T26" fmla="*/ 7759 w 21600"/>
                  <a:gd name="T27" fmla="*/ 485 h 21600"/>
                  <a:gd name="T28" fmla="*/ 8755 w 21600"/>
                  <a:gd name="T29" fmla="*/ 121 h 21600"/>
                  <a:gd name="T30" fmla="*/ 9647 w 21600"/>
                  <a:gd name="T31" fmla="*/ 0 h 21600"/>
                  <a:gd name="T32" fmla="*/ 10590 w 21600"/>
                  <a:gd name="T33" fmla="*/ 0 h 21600"/>
                  <a:gd name="T34" fmla="*/ 11744 w 21600"/>
                  <a:gd name="T35" fmla="*/ 0 h 21600"/>
                  <a:gd name="T36" fmla="*/ 12845 w 21600"/>
                  <a:gd name="T37" fmla="*/ 243 h 21600"/>
                  <a:gd name="T38" fmla="*/ 13893 w 21600"/>
                  <a:gd name="T39" fmla="*/ 607 h 21600"/>
                  <a:gd name="T40" fmla="*/ 14889 w 21600"/>
                  <a:gd name="T41" fmla="*/ 971 h 21600"/>
                  <a:gd name="T42" fmla="*/ 15885 w 21600"/>
                  <a:gd name="T43" fmla="*/ 1456 h 21600"/>
                  <a:gd name="T44" fmla="*/ 16777 w 21600"/>
                  <a:gd name="T45" fmla="*/ 1942 h 21600"/>
                  <a:gd name="T46" fmla="*/ 17616 w 21600"/>
                  <a:gd name="T47" fmla="*/ 2670 h 21600"/>
                  <a:gd name="T48" fmla="*/ 18402 w 21600"/>
                  <a:gd name="T49" fmla="*/ 3519 h 21600"/>
                  <a:gd name="T50" fmla="*/ 19136 w 21600"/>
                  <a:gd name="T51" fmla="*/ 4369 h 21600"/>
                  <a:gd name="T52" fmla="*/ 19713 w 21600"/>
                  <a:gd name="T53" fmla="*/ 5218 h 21600"/>
                  <a:gd name="T54" fmla="*/ 20289 w 21600"/>
                  <a:gd name="T55" fmla="*/ 6189 h 21600"/>
                  <a:gd name="T56" fmla="*/ 20761 w 21600"/>
                  <a:gd name="T57" fmla="*/ 7160 h 21600"/>
                  <a:gd name="T58" fmla="*/ 21128 w 21600"/>
                  <a:gd name="T59" fmla="*/ 8252 h 21600"/>
                  <a:gd name="T60" fmla="*/ 21338 w 21600"/>
                  <a:gd name="T61" fmla="*/ 9344 h 21600"/>
                  <a:gd name="T62" fmla="*/ 21548 w 21600"/>
                  <a:gd name="T63" fmla="*/ 10557 h 21600"/>
                  <a:gd name="T64" fmla="*/ 21600 w 21600"/>
                  <a:gd name="T65" fmla="*/ 11771 h 21600"/>
                  <a:gd name="T66" fmla="*/ 21495 w 21600"/>
                  <a:gd name="T67" fmla="*/ 13591 h 21600"/>
                  <a:gd name="T68" fmla="*/ 21128 w 21600"/>
                  <a:gd name="T69" fmla="*/ 15169 h 21600"/>
                  <a:gd name="T70" fmla="*/ 20551 w 21600"/>
                  <a:gd name="T71" fmla="*/ 16625 h 21600"/>
                  <a:gd name="T72" fmla="*/ 19817 w 21600"/>
                  <a:gd name="T73" fmla="*/ 17960 h 21600"/>
                  <a:gd name="T74" fmla="*/ 18821 w 21600"/>
                  <a:gd name="T75" fmla="*/ 19052 h 21600"/>
                  <a:gd name="T76" fmla="*/ 17668 w 21600"/>
                  <a:gd name="T77" fmla="*/ 20022 h 21600"/>
                  <a:gd name="T78" fmla="*/ 16410 w 21600"/>
                  <a:gd name="T79" fmla="*/ 20872 h 21600"/>
                  <a:gd name="T80" fmla="*/ 14889 w 21600"/>
                  <a:gd name="T81" fmla="*/ 21600 h 21600"/>
                  <a:gd name="T82" fmla="*/ 0 w 21600"/>
                  <a:gd name="T83" fmla="*/ 9101 h 21600"/>
                  <a:gd name="T84" fmla="*/ 0 w 21600"/>
                  <a:gd name="T85" fmla="*/ 9101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1600" h="21600">
                    <a:moveTo>
                      <a:pt x="0" y="9101"/>
                    </a:moveTo>
                    <a:lnTo>
                      <a:pt x="210" y="8130"/>
                    </a:lnTo>
                    <a:lnTo>
                      <a:pt x="524" y="7281"/>
                    </a:lnTo>
                    <a:lnTo>
                      <a:pt x="944" y="6310"/>
                    </a:lnTo>
                    <a:lnTo>
                      <a:pt x="1363" y="5461"/>
                    </a:lnTo>
                    <a:lnTo>
                      <a:pt x="1940" y="4733"/>
                    </a:lnTo>
                    <a:lnTo>
                      <a:pt x="2464" y="3883"/>
                    </a:lnTo>
                    <a:lnTo>
                      <a:pt x="3146" y="3276"/>
                    </a:lnTo>
                    <a:lnTo>
                      <a:pt x="3775" y="2670"/>
                    </a:lnTo>
                    <a:lnTo>
                      <a:pt x="4509" y="1942"/>
                    </a:lnTo>
                    <a:lnTo>
                      <a:pt x="5295" y="1578"/>
                    </a:lnTo>
                    <a:lnTo>
                      <a:pt x="6082" y="1092"/>
                    </a:lnTo>
                    <a:lnTo>
                      <a:pt x="6920" y="728"/>
                    </a:lnTo>
                    <a:lnTo>
                      <a:pt x="7759" y="485"/>
                    </a:lnTo>
                    <a:lnTo>
                      <a:pt x="8755" y="121"/>
                    </a:lnTo>
                    <a:lnTo>
                      <a:pt x="9647" y="0"/>
                    </a:lnTo>
                    <a:lnTo>
                      <a:pt x="10590" y="0"/>
                    </a:lnTo>
                    <a:lnTo>
                      <a:pt x="11744" y="0"/>
                    </a:lnTo>
                    <a:lnTo>
                      <a:pt x="12845" y="243"/>
                    </a:lnTo>
                    <a:lnTo>
                      <a:pt x="13893" y="607"/>
                    </a:lnTo>
                    <a:lnTo>
                      <a:pt x="14889" y="971"/>
                    </a:lnTo>
                    <a:lnTo>
                      <a:pt x="15885" y="1456"/>
                    </a:lnTo>
                    <a:lnTo>
                      <a:pt x="16777" y="1942"/>
                    </a:lnTo>
                    <a:lnTo>
                      <a:pt x="17616" y="2670"/>
                    </a:lnTo>
                    <a:lnTo>
                      <a:pt x="18402" y="3519"/>
                    </a:lnTo>
                    <a:lnTo>
                      <a:pt x="19136" y="4369"/>
                    </a:lnTo>
                    <a:lnTo>
                      <a:pt x="19713" y="5218"/>
                    </a:lnTo>
                    <a:lnTo>
                      <a:pt x="20289" y="6189"/>
                    </a:lnTo>
                    <a:lnTo>
                      <a:pt x="20761" y="7160"/>
                    </a:lnTo>
                    <a:lnTo>
                      <a:pt x="21128" y="8252"/>
                    </a:lnTo>
                    <a:lnTo>
                      <a:pt x="21338" y="9344"/>
                    </a:lnTo>
                    <a:lnTo>
                      <a:pt x="21548" y="10557"/>
                    </a:lnTo>
                    <a:lnTo>
                      <a:pt x="21600" y="11771"/>
                    </a:lnTo>
                    <a:lnTo>
                      <a:pt x="21495" y="13591"/>
                    </a:lnTo>
                    <a:lnTo>
                      <a:pt x="21128" y="15169"/>
                    </a:lnTo>
                    <a:lnTo>
                      <a:pt x="20551" y="16625"/>
                    </a:lnTo>
                    <a:lnTo>
                      <a:pt x="19817" y="17960"/>
                    </a:lnTo>
                    <a:lnTo>
                      <a:pt x="18821" y="19052"/>
                    </a:lnTo>
                    <a:lnTo>
                      <a:pt x="17668" y="20022"/>
                    </a:lnTo>
                    <a:lnTo>
                      <a:pt x="16410" y="20872"/>
                    </a:lnTo>
                    <a:lnTo>
                      <a:pt x="14889" y="21600"/>
                    </a:lnTo>
                    <a:lnTo>
                      <a:pt x="0" y="9101"/>
                    </a:lnTo>
                    <a:close/>
                    <a:moveTo>
                      <a:pt x="0" y="9101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184" name="Freeform 92"/>
              <p:cNvSpPr>
                <a:spLocks/>
              </p:cNvSpPr>
              <p:nvPr/>
            </p:nvSpPr>
            <p:spPr bwMode="gray">
              <a:xfrm>
                <a:off x="93" y="92"/>
                <a:ext cx="44" cy="19"/>
              </a:xfrm>
              <a:custGeom>
                <a:avLst/>
                <a:gdLst>
                  <a:gd name="T0" fmla="*/ 0 w 21600"/>
                  <a:gd name="T1" fmla="*/ 12462 h 21600"/>
                  <a:gd name="T2" fmla="*/ 0 w 21600"/>
                  <a:gd name="T3" fmla="*/ 12105 h 21600"/>
                  <a:gd name="T4" fmla="*/ 0 w 21600"/>
                  <a:gd name="T5" fmla="*/ 11868 h 21600"/>
                  <a:gd name="T6" fmla="*/ 0 w 21600"/>
                  <a:gd name="T7" fmla="*/ 11749 h 21600"/>
                  <a:gd name="T8" fmla="*/ 0 w 21600"/>
                  <a:gd name="T9" fmla="*/ 11512 h 21600"/>
                  <a:gd name="T10" fmla="*/ 52 w 21600"/>
                  <a:gd name="T11" fmla="*/ 10207 h 21600"/>
                  <a:gd name="T12" fmla="*/ 208 w 21600"/>
                  <a:gd name="T13" fmla="*/ 9138 h 21600"/>
                  <a:gd name="T14" fmla="*/ 467 w 21600"/>
                  <a:gd name="T15" fmla="*/ 8070 h 21600"/>
                  <a:gd name="T16" fmla="*/ 831 w 21600"/>
                  <a:gd name="T17" fmla="*/ 7002 h 21600"/>
                  <a:gd name="T18" fmla="*/ 1298 w 21600"/>
                  <a:gd name="T19" fmla="*/ 5934 h 21600"/>
                  <a:gd name="T20" fmla="*/ 1817 w 21600"/>
                  <a:gd name="T21" fmla="*/ 4985 h 21600"/>
                  <a:gd name="T22" fmla="*/ 2440 w 21600"/>
                  <a:gd name="T23" fmla="*/ 4154 h 21600"/>
                  <a:gd name="T24" fmla="*/ 3167 w 21600"/>
                  <a:gd name="T25" fmla="*/ 3442 h 21600"/>
                  <a:gd name="T26" fmla="*/ 3946 w 21600"/>
                  <a:gd name="T27" fmla="*/ 2611 h 21600"/>
                  <a:gd name="T28" fmla="*/ 4777 w 21600"/>
                  <a:gd name="T29" fmla="*/ 1899 h 21600"/>
                  <a:gd name="T30" fmla="*/ 5660 w 21600"/>
                  <a:gd name="T31" fmla="*/ 1305 h 21600"/>
                  <a:gd name="T32" fmla="*/ 6594 w 21600"/>
                  <a:gd name="T33" fmla="*/ 949 h 21600"/>
                  <a:gd name="T34" fmla="*/ 7581 w 21600"/>
                  <a:gd name="T35" fmla="*/ 475 h 21600"/>
                  <a:gd name="T36" fmla="*/ 8671 w 21600"/>
                  <a:gd name="T37" fmla="*/ 237 h 21600"/>
                  <a:gd name="T38" fmla="*/ 9658 w 21600"/>
                  <a:gd name="T39" fmla="*/ 0 h 21600"/>
                  <a:gd name="T40" fmla="*/ 10800 w 21600"/>
                  <a:gd name="T41" fmla="*/ 0 h 21600"/>
                  <a:gd name="T42" fmla="*/ 11890 w 21600"/>
                  <a:gd name="T43" fmla="*/ 0 h 21600"/>
                  <a:gd name="T44" fmla="*/ 12877 w 21600"/>
                  <a:gd name="T45" fmla="*/ 237 h 21600"/>
                  <a:gd name="T46" fmla="*/ 13863 w 21600"/>
                  <a:gd name="T47" fmla="*/ 356 h 21600"/>
                  <a:gd name="T48" fmla="*/ 14798 w 21600"/>
                  <a:gd name="T49" fmla="*/ 831 h 21600"/>
                  <a:gd name="T50" fmla="*/ 15785 w 21600"/>
                  <a:gd name="T51" fmla="*/ 1187 h 21600"/>
                  <a:gd name="T52" fmla="*/ 16615 w 21600"/>
                  <a:gd name="T53" fmla="*/ 1780 h 21600"/>
                  <a:gd name="T54" fmla="*/ 17446 w 21600"/>
                  <a:gd name="T55" fmla="*/ 2492 h 21600"/>
                  <a:gd name="T56" fmla="*/ 18225 w 21600"/>
                  <a:gd name="T57" fmla="*/ 2967 h 21600"/>
                  <a:gd name="T58" fmla="*/ 18848 w 21600"/>
                  <a:gd name="T59" fmla="*/ 3798 h 21600"/>
                  <a:gd name="T60" fmla="*/ 19523 w 21600"/>
                  <a:gd name="T61" fmla="*/ 4629 h 21600"/>
                  <a:gd name="T62" fmla="*/ 20094 w 21600"/>
                  <a:gd name="T63" fmla="*/ 5459 h 21600"/>
                  <a:gd name="T64" fmla="*/ 20562 w 21600"/>
                  <a:gd name="T65" fmla="*/ 6409 h 21600"/>
                  <a:gd name="T66" fmla="*/ 20977 w 21600"/>
                  <a:gd name="T67" fmla="*/ 7358 h 21600"/>
                  <a:gd name="T68" fmla="*/ 21288 w 21600"/>
                  <a:gd name="T69" fmla="*/ 8426 h 21600"/>
                  <a:gd name="T70" fmla="*/ 21496 w 21600"/>
                  <a:gd name="T71" fmla="*/ 9495 h 21600"/>
                  <a:gd name="T72" fmla="*/ 21600 w 21600"/>
                  <a:gd name="T73" fmla="*/ 10681 h 21600"/>
                  <a:gd name="T74" fmla="*/ 9865 w 21600"/>
                  <a:gd name="T75" fmla="*/ 21600 h 21600"/>
                  <a:gd name="T76" fmla="*/ 0 w 21600"/>
                  <a:gd name="T77" fmla="*/ 12462 h 21600"/>
                  <a:gd name="T78" fmla="*/ 0 w 21600"/>
                  <a:gd name="T79" fmla="*/ 12462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1600" h="21600">
                    <a:moveTo>
                      <a:pt x="0" y="12462"/>
                    </a:moveTo>
                    <a:lnTo>
                      <a:pt x="0" y="12105"/>
                    </a:lnTo>
                    <a:lnTo>
                      <a:pt x="0" y="11868"/>
                    </a:lnTo>
                    <a:lnTo>
                      <a:pt x="0" y="11749"/>
                    </a:lnTo>
                    <a:lnTo>
                      <a:pt x="0" y="11512"/>
                    </a:lnTo>
                    <a:lnTo>
                      <a:pt x="52" y="10207"/>
                    </a:lnTo>
                    <a:lnTo>
                      <a:pt x="208" y="9138"/>
                    </a:lnTo>
                    <a:lnTo>
                      <a:pt x="467" y="8070"/>
                    </a:lnTo>
                    <a:lnTo>
                      <a:pt x="831" y="7002"/>
                    </a:lnTo>
                    <a:lnTo>
                      <a:pt x="1298" y="5934"/>
                    </a:lnTo>
                    <a:lnTo>
                      <a:pt x="1817" y="4985"/>
                    </a:lnTo>
                    <a:lnTo>
                      <a:pt x="2440" y="4154"/>
                    </a:lnTo>
                    <a:lnTo>
                      <a:pt x="3167" y="3442"/>
                    </a:lnTo>
                    <a:lnTo>
                      <a:pt x="3946" y="2611"/>
                    </a:lnTo>
                    <a:lnTo>
                      <a:pt x="4777" y="1899"/>
                    </a:lnTo>
                    <a:lnTo>
                      <a:pt x="5660" y="1305"/>
                    </a:lnTo>
                    <a:lnTo>
                      <a:pt x="6594" y="949"/>
                    </a:lnTo>
                    <a:lnTo>
                      <a:pt x="7581" y="475"/>
                    </a:lnTo>
                    <a:lnTo>
                      <a:pt x="8671" y="237"/>
                    </a:lnTo>
                    <a:lnTo>
                      <a:pt x="9658" y="0"/>
                    </a:lnTo>
                    <a:lnTo>
                      <a:pt x="10800" y="0"/>
                    </a:lnTo>
                    <a:lnTo>
                      <a:pt x="11890" y="0"/>
                    </a:lnTo>
                    <a:lnTo>
                      <a:pt x="12877" y="237"/>
                    </a:lnTo>
                    <a:lnTo>
                      <a:pt x="13863" y="356"/>
                    </a:lnTo>
                    <a:lnTo>
                      <a:pt x="14798" y="831"/>
                    </a:lnTo>
                    <a:lnTo>
                      <a:pt x="15785" y="1187"/>
                    </a:lnTo>
                    <a:lnTo>
                      <a:pt x="16615" y="1780"/>
                    </a:lnTo>
                    <a:lnTo>
                      <a:pt x="17446" y="2492"/>
                    </a:lnTo>
                    <a:lnTo>
                      <a:pt x="18225" y="2967"/>
                    </a:lnTo>
                    <a:lnTo>
                      <a:pt x="18848" y="3798"/>
                    </a:lnTo>
                    <a:lnTo>
                      <a:pt x="19523" y="4629"/>
                    </a:lnTo>
                    <a:lnTo>
                      <a:pt x="20094" y="5459"/>
                    </a:lnTo>
                    <a:lnTo>
                      <a:pt x="20562" y="6409"/>
                    </a:lnTo>
                    <a:lnTo>
                      <a:pt x="20977" y="7358"/>
                    </a:lnTo>
                    <a:lnTo>
                      <a:pt x="21288" y="8426"/>
                    </a:lnTo>
                    <a:lnTo>
                      <a:pt x="21496" y="9495"/>
                    </a:lnTo>
                    <a:lnTo>
                      <a:pt x="21600" y="10681"/>
                    </a:lnTo>
                    <a:lnTo>
                      <a:pt x="9865" y="21600"/>
                    </a:lnTo>
                    <a:lnTo>
                      <a:pt x="0" y="12462"/>
                    </a:lnTo>
                    <a:close/>
                    <a:moveTo>
                      <a:pt x="0" y="12462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</p:grpSp>
      </p:grpSp>
      <p:grpSp>
        <p:nvGrpSpPr>
          <p:cNvPr id="185" name="Group 184"/>
          <p:cNvGrpSpPr>
            <a:grpSpLocks/>
          </p:cNvGrpSpPr>
          <p:nvPr/>
        </p:nvGrpSpPr>
        <p:grpSpPr bwMode="gray">
          <a:xfrm>
            <a:off x="781060" y="2820998"/>
            <a:ext cx="272029" cy="266685"/>
            <a:chOff x="119063" y="3199355"/>
            <a:chExt cx="248055" cy="248845"/>
          </a:xfrm>
        </p:grpSpPr>
        <p:sp>
          <p:nvSpPr>
            <p:cNvPr id="186" name="Oval 11"/>
            <p:cNvSpPr>
              <a:spLocks/>
            </p:cNvSpPr>
            <p:nvPr>
              <p:custDataLst>
                <p:tags r:id="rId112"/>
              </p:custDataLst>
            </p:nvPr>
          </p:nvSpPr>
          <p:spPr bwMode="gray">
            <a:xfrm>
              <a:off x="119063" y="3199355"/>
              <a:ext cx="248055" cy="248845"/>
            </a:xfrm>
            <a:prstGeom prst="ellipse">
              <a:avLst/>
            </a:prstGeom>
            <a:solidFill>
              <a:srgbClr val="FFFFFF"/>
            </a:solidFill>
            <a:ln w="9525" cap="flat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  <p:pic>
          <p:nvPicPr>
            <p:cNvPr id="187" name="Picture 5"/>
            <p:cNvPicPr>
              <a:picLocks noChangeAspect="1" noChangeArrowheads="1"/>
            </p:cNvPicPr>
            <p:nvPr>
              <p:custDataLst>
                <p:tags r:id="rId113"/>
              </p:custDataLst>
            </p:nvPr>
          </p:nvPicPr>
          <p:blipFill>
            <a:blip r:embed="rId128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43078" y="3229908"/>
              <a:ext cx="212724" cy="2004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15" name="Group 214"/>
          <p:cNvGrpSpPr>
            <a:grpSpLocks/>
          </p:cNvGrpSpPr>
          <p:nvPr/>
        </p:nvGrpSpPr>
        <p:grpSpPr bwMode="gray">
          <a:xfrm>
            <a:off x="781060" y="4857756"/>
            <a:ext cx="272029" cy="266685"/>
            <a:chOff x="356021" y="4181012"/>
            <a:chExt cx="350056" cy="351170"/>
          </a:xfrm>
        </p:grpSpPr>
        <p:sp>
          <p:nvSpPr>
            <p:cNvPr id="216" name="Oval 12"/>
            <p:cNvSpPr>
              <a:spLocks/>
            </p:cNvSpPr>
            <p:nvPr>
              <p:custDataLst>
                <p:tags r:id="rId109"/>
              </p:custDataLst>
            </p:nvPr>
          </p:nvSpPr>
          <p:spPr bwMode="gray">
            <a:xfrm>
              <a:off x="356021" y="4181012"/>
              <a:ext cx="350056" cy="351170"/>
            </a:xfrm>
            <a:prstGeom prst="ellipse">
              <a:avLst/>
            </a:prstGeom>
            <a:solidFill>
              <a:srgbClr val="FFFFFF"/>
            </a:solidFill>
            <a:ln w="9525" cap="flat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  <p:sp>
          <p:nvSpPr>
            <p:cNvPr id="217" name="Freeform 38"/>
            <p:cNvSpPr>
              <a:spLocks/>
            </p:cNvSpPr>
            <p:nvPr>
              <p:custDataLst>
                <p:tags r:id="rId110"/>
              </p:custDataLst>
            </p:nvPr>
          </p:nvSpPr>
          <p:spPr bwMode="gray">
            <a:xfrm>
              <a:off x="461038" y="4217661"/>
              <a:ext cx="140022" cy="277873"/>
            </a:xfrm>
            <a:custGeom>
              <a:avLst/>
              <a:gdLst>
                <a:gd name="T0" fmla="*/ 16033 w 21600"/>
                <a:gd name="T1" fmla="*/ 983 h 21600"/>
                <a:gd name="T2" fmla="*/ 17659 w 21600"/>
                <a:gd name="T3" fmla="*/ 896 h 21600"/>
                <a:gd name="T4" fmla="*/ 20356 w 21600"/>
                <a:gd name="T5" fmla="*/ 520 h 21600"/>
                <a:gd name="T6" fmla="*/ 21141 w 21600"/>
                <a:gd name="T7" fmla="*/ 2274 h 21600"/>
                <a:gd name="T8" fmla="*/ 20663 w 21600"/>
                <a:gd name="T9" fmla="*/ 5039 h 21600"/>
                <a:gd name="T10" fmla="*/ 19515 w 21600"/>
                <a:gd name="T11" fmla="*/ 6060 h 21600"/>
                <a:gd name="T12" fmla="*/ 18233 w 21600"/>
                <a:gd name="T13" fmla="*/ 6725 h 21600"/>
                <a:gd name="T14" fmla="*/ 15937 w 21600"/>
                <a:gd name="T15" fmla="*/ 7043 h 21600"/>
                <a:gd name="T16" fmla="*/ 13565 w 21600"/>
                <a:gd name="T17" fmla="*/ 6628 h 21600"/>
                <a:gd name="T18" fmla="*/ 12359 w 21600"/>
                <a:gd name="T19" fmla="*/ 5915 h 21600"/>
                <a:gd name="T20" fmla="*/ 10810 w 21600"/>
                <a:gd name="T21" fmla="*/ 4374 h 21600"/>
                <a:gd name="T22" fmla="*/ 9662 w 21600"/>
                <a:gd name="T23" fmla="*/ 1763 h 21600"/>
                <a:gd name="T24" fmla="*/ 10465 w 21600"/>
                <a:gd name="T25" fmla="*/ 520 h 21600"/>
                <a:gd name="T26" fmla="*/ 12818 w 21600"/>
                <a:gd name="T27" fmla="*/ 1175 h 21600"/>
                <a:gd name="T28" fmla="*/ 13756 w 21600"/>
                <a:gd name="T29" fmla="*/ 896 h 21600"/>
                <a:gd name="T30" fmla="*/ 10790 w 21600"/>
                <a:gd name="T31" fmla="*/ 270 h 21600"/>
                <a:gd name="T32" fmla="*/ 9451 w 21600"/>
                <a:gd name="T33" fmla="*/ 925 h 21600"/>
                <a:gd name="T34" fmla="*/ 9776 w 21600"/>
                <a:gd name="T35" fmla="*/ 3594 h 21600"/>
                <a:gd name="T36" fmla="*/ 11039 w 21600"/>
                <a:gd name="T37" fmla="*/ 5829 h 21600"/>
                <a:gd name="T38" fmla="*/ 12302 w 21600"/>
                <a:gd name="T39" fmla="*/ 6869 h 21600"/>
                <a:gd name="T40" fmla="*/ 14445 w 21600"/>
                <a:gd name="T41" fmla="*/ 7457 h 21600"/>
                <a:gd name="T42" fmla="*/ 15306 w 21600"/>
                <a:gd name="T43" fmla="*/ 8758 h 21600"/>
                <a:gd name="T44" fmla="*/ 14158 w 21600"/>
                <a:gd name="T45" fmla="*/ 9827 h 21600"/>
                <a:gd name="T46" fmla="*/ 11575 w 21600"/>
                <a:gd name="T47" fmla="*/ 10848 h 21600"/>
                <a:gd name="T48" fmla="*/ 6160 w 21600"/>
                <a:gd name="T49" fmla="*/ 12544 h 21600"/>
                <a:gd name="T50" fmla="*/ 1798 w 21600"/>
                <a:gd name="T51" fmla="*/ 14615 h 21600"/>
                <a:gd name="T52" fmla="*/ 38 w 21600"/>
                <a:gd name="T53" fmla="*/ 17621 h 21600"/>
                <a:gd name="T54" fmla="*/ 2487 w 21600"/>
                <a:gd name="T55" fmla="*/ 19847 h 21600"/>
                <a:gd name="T56" fmla="*/ 7787 w 21600"/>
                <a:gd name="T57" fmla="*/ 20762 h 21600"/>
                <a:gd name="T58" fmla="*/ 14559 w 21600"/>
                <a:gd name="T59" fmla="*/ 20839 h 21600"/>
                <a:gd name="T60" fmla="*/ 16128 w 21600"/>
                <a:gd name="T61" fmla="*/ 21051 h 21600"/>
                <a:gd name="T62" fmla="*/ 17219 w 21600"/>
                <a:gd name="T63" fmla="*/ 21494 h 21600"/>
                <a:gd name="T64" fmla="*/ 18577 w 21600"/>
                <a:gd name="T65" fmla="*/ 21600 h 21600"/>
                <a:gd name="T66" fmla="*/ 19916 w 21600"/>
                <a:gd name="T67" fmla="*/ 21378 h 21600"/>
                <a:gd name="T68" fmla="*/ 20892 w 21600"/>
                <a:gd name="T69" fmla="*/ 20502 h 21600"/>
                <a:gd name="T70" fmla="*/ 20318 w 21600"/>
                <a:gd name="T71" fmla="*/ 19413 h 21600"/>
                <a:gd name="T72" fmla="*/ 18654 w 21600"/>
                <a:gd name="T73" fmla="*/ 18931 h 21600"/>
                <a:gd name="T74" fmla="*/ 16779 w 21600"/>
                <a:gd name="T75" fmla="*/ 19201 h 21600"/>
                <a:gd name="T76" fmla="*/ 14426 w 21600"/>
                <a:gd name="T77" fmla="*/ 20174 h 21600"/>
                <a:gd name="T78" fmla="*/ 9030 w 21600"/>
                <a:gd name="T79" fmla="*/ 20164 h 21600"/>
                <a:gd name="T80" fmla="*/ 4152 w 21600"/>
                <a:gd name="T81" fmla="*/ 19500 h 21600"/>
                <a:gd name="T82" fmla="*/ 1645 w 21600"/>
                <a:gd name="T83" fmla="*/ 18074 h 21600"/>
                <a:gd name="T84" fmla="*/ 1511 w 21600"/>
                <a:gd name="T85" fmla="*/ 16446 h 21600"/>
                <a:gd name="T86" fmla="*/ 5108 w 21600"/>
                <a:gd name="T87" fmla="*/ 13844 h 21600"/>
                <a:gd name="T88" fmla="*/ 9662 w 21600"/>
                <a:gd name="T89" fmla="*/ 12120 h 21600"/>
                <a:gd name="T90" fmla="*/ 14177 w 21600"/>
                <a:gd name="T91" fmla="*/ 10665 h 21600"/>
                <a:gd name="T92" fmla="*/ 15956 w 21600"/>
                <a:gd name="T93" fmla="*/ 9663 h 21600"/>
                <a:gd name="T94" fmla="*/ 16779 w 21600"/>
                <a:gd name="T95" fmla="*/ 8257 h 21600"/>
                <a:gd name="T96" fmla="*/ 18577 w 21600"/>
                <a:gd name="T97" fmla="*/ 7264 h 21600"/>
                <a:gd name="T98" fmla="*/ 20299 w 21600"/>
                <a:gd name="T99" fmla="*/ 6542 h 21600"/>
                <a:gd name="T100" fmla="*/ 21332 w 21600"/>
                <a:gd name="T101" fmla="*/ 5308 h 21600"/>
                <a:gd name="T102" fmla="*/ 21600 w 21600"/>
                <a:gd name="T103" fmla="*/ 2717 h 21600"/>
                <a:gd name="T104" fmla="*/ 20854 w 21600"/>
                <a:gd name="T105" fmla="*/ 501 h 21600"/>
                <a:gd name="T106" fmla="*/ 17544 w 21600"/>
                <a:gd name="T107" fmla="*/ 46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600" h="21600">
                  <a:moveTo>
                    <a:pt x="17391" y="453"/>
                  </a:moveTo>
                  <a:lnTo>
                    <a:pt x="16798" y="453"/>
                  </a:lnTo>
                  <a:lnTo>
                    <a:pt x="16243" y="607"/>
                  </a:lnTo>
                  <a:lnTo>
                    <a:pt x="16052" y="742"/>
                  </a:lnTo>
                  <a:lnTo>
                    <a:pt x="15994" y="877"/>
                  </a:lnTo>
                  <a:lnTo>
                    <a:pt x="16033" y="983"/>
                  </a:lnTo>
                  <a:lnTo>
                    <a:pt x="16167" y="1079"/>
                  </a:lnTo>
                  <a:lnTo>
                    <a:pt x="16358" y="1127"/>
                  </a:lnTo>
                  <a:lnTo>
                    <a:pt x="16607" y="1156"/>
                  </a:lnTo>
                  <a:lnTo>
                    <a:pt x="16855" y="1127"/>
                  </a:lnTo>
                  <a:lnTo>
                    <a:pt x="17066" y="1040"/>
                  </a:lnTo>
                  <a:lnTo>
                    <a:pt x="17659" y="896"/>
                  </a:lnTo>
                  <a:lnTo>
                    <a:pt x="17793" y="674"/>
                  </a:lnTo>
                  <a:lnTo>
                    <a:pt x="19151" y="222"/>
                  </a:lnTo>
                  <a:lnTo>
                    <a:pt x="19553" y="241"/>
                  </a:lnTo>
                  <a:lnTo>
                    <a:pt x="19859" y="299"/>
                  </a:lnTo>
                  <a:lnTo>
                    <a:pt x="20127" y="385"/>
                  </a:lnTo>
                  <a:lnTo>
                    <a:pt x="20356" y="520"/>
                  </a:lnTo>
                  <a:lnTo>
                    <a:pt x="20548" y="674"/>
                  </a:lnTo>
                  <a:lnTo>
                    <a:pt x="20701" y="867"/>
                  </a:lnTo>
                  <a:lnTo>
                    <a:pt x="20835" y="1079"/>
                  </a:lnTo>
                  <a:lnTo>
                    <a:pt x="20988" y="1310"/>
                  </a:lnTo>
                  <a:lnTo>
                    <a:pt x="21103" y="1811"/>
                  </a:lnTo>
                  <a:lnTo>
                    <a:pt x="21141" y="2274"/>
                  </a:lnTo>
                  <a:lnTo>
                    <a:pt x="21160" y="2726"/>
                  </a:lnTo>
                  <a:lnTo>
                    <a:pt x="21122" y="3179"/>
                  </a:lnTo>
                  <a:lnTo>
                    <a:pt x="21045" y="3603"/>
                  </a:lnTo>
                  <a:lnTo>
                    <a:pt x="20969" y="4066"/>
                  </a:lnTo>
                  <a:lnTo>
                    <a:pt x="20835" y="4538"/>
                  </a:lnTo>
                  <a:lnTo>
                    <a:pt x="20663" y="5039"/>
                  </a:lnTo>
                  <a:lnTo>
                    <a:pt x="20356" y="5106"/>
                  </a:lnTo>
                  <a:lnTo>
                    <a:pt x="19993" y="5405"/>
                  </a:lnTo>
                  <a:lnTo>
                    <a:pt x="19878" y="5588"/>
                  </a:lnTo>
                  <a:lnTo>
                    <a:pt x="19782" y="5761"/>
                  </a:lnTo>
                  <a:lnTo>
                    <a:pt x="19668" y="5915"/>
                  </a:lnTo>
                  <a:lnTo>
                    <a:pt x="19515" y="6060"/>
                  </a:lnTo>
                  <a:lnTo>
                    <a:pt x="19362" y="6204"/>
                  </a:lnTo>
                  <a:lnTo>
                    <a:pt x="19189" y="6330"/>
                  </a:lnTo>
                  <a:lnTo>
                    <a:pt x="18979" y="6455"/>
                  </a:lnTo>
                  <a:lnTo>
                    <a:pt x="18768" y="6551"/>
                  </a:lnTo>
                  <a:lnTo>
                    <a:pt x="18501" y="6648"/>
                  </a:lnTo>
                  <a:lnTo>
                    <a:pt x="18233" y="6725"/>
                  </a:lnTo>
                  <a:lnTo>
                    <a:pt x="17927" y="6802"/>
                  </a:lnTo>
                  <a:lnTo>
                    <a:pt x="17601" y="6869"/>
                  </a:lnTo>
                  <a:lnTo>
                    <a:pt x="17238" y="6927"/>
                  </a:lnTo>
                  <a:lnTo>
                    <a:pt x="16855" y="6975"/>
                  </a:lnTo>
                  <a:lnTo>
                    <a:pt x="16396" y="7014"/>
                  </a:lnTo>
                  <a:lnTo>
                    <a:pt x="15937" y="7043"/>
                  </a:lnTo>
                  <a:lnTo>
                    <a:pt x="15440" y="6975"/>
                  </a:lnTo>
                  <a:lnTo>
                    <a:pt x="14980" y="6908"/>
                  </a:lnTo>
                  <a:lnTo>
                    <a:pt x="14559" y="6840"/>
                  </a:lnTo>
                  <a:lnTo>
                    <a:pt x="14196" y="6773"/>
                  </a:lnTo>
                  <a:lnTo>
                    <a:pt x="13871" y="6705"/>
                  </a:lnTo>
                  <a:lnTo>
                    <a:pt x="13565" y="6628"/>
                  </a:lnTo>
                  <a:lnTo>
                    <a:pt x="13297" y="6551"/>
                  </a:lnTo>
                  <a:lnTo>
                    <a:pt x="13048" y="6455"/>
                  </a:lnTo>
                  <a:lnTo>
                    <a:pt x="12857" y="6339"/>
                  </a:lnTo>
                  <a:lnTo>
                    <a:pt x="12665" y="6214"/>
                  </a:lnTo>
                  <a:lnTo>
                    <a:pt x="12512" y="6079"/>
                  </a:lnTo>
                  <a:lnTo>
                    <a:pt x="12359" y="5915"/>
                  </a:lnTo>
                  <a:lnTo>
                    <a:pt x="12206" y="5742"/>
                  </a:lnTo>
                  <a:lnTo>
                    <a:pt x="12072" y="5540"/>
                  </a:lnTo>
                  <a:lnTo>
                    <a:pt x="11957" y="5308"/>
                  </a:lnTo>
                  <a:lnTo>
                    <a:pt x="11824" y="5039"/>
                  </a:lnTo>
                  <a:lnTo>
                    <a:pt x="11250" y="4942"/>
                  </a:lnTo>
                  <a:lnTo>
                    <a:pt x="10810" y="4374"/>
                  </a:lnTo>
                  <a:lnTo>
                    <a:pt x="10427" y="3883"/>
                  </a:lnTo>
                  <a:lnTo>
                    <a:pt x="10178" y="3478"/>
                  </a:lnTo>
                  <a:lnTo>
                    <a:pt x="9949" y="3083"/>
                  </a:lnTo>
                  <a:lnTo>
                    <a:pt x="9796" y="2688"/>
                  </a:lnTo>
                  <a:lnTo>
                    <a:pt x="9700" y="2264"/>
                  </a:lnTo>
                  <a:lnTo>
                    <a:pt x="9662" y="1763"/>
                  </a:lnTo>
                  <a:lnTo>
                    <a:pt x="9662" y="1175"/>
                  </a:lnTo>
                  <a:lnTo>
                    <a:pt x="9796" y="973"/>
                  </a:lnTo>
                  <a:lnTo>
                    <a:pt x="9949" y="809"/>
                  </a:lnTo>
                  <a:lnTo>
                    <a:pt x="10083" y="674"/>
                  </a:lnTo>
                  <a:lnTo>
                    <a:pt x="10255" y="588"/>
                  </a:lnTo>
                  <a:lnTo>
                    <a:pt x="10465" y="520"/>
                  </a:lnTo>
                  <a:lnTo>
                    <a:pt x="10695" y="501"/>
                  </a:lnTo>
                  <a:lnTo>
                    <a:pt x="11001" y="491"/>
                  </a:lnTo>
                  <a:lnTo>
                    <a:pt x="11384" y="520"/>
                  </a:lnTo>
                  <a:lnTo>
                    <a:pt x="12149" y="751"/>
                  </a:lnTo>
                  <a:lnTo>
                    <a:pt x="12091" y="954"/>
                  </a:lnTo>
                  <a:lnTo>
                    <a:pt x="12818" y="1175"/>
                  </a:lnTo>
                  <a:lnTo>
                    <a:pt x="13029" y="1195"/>
                  </a:lnTo>
                  <a:lnTo>
                    <a:pt x="13258" y="1195"/>
                  </a:lnTo>
                  <a:lnTo>
                    <a:pt x="13450" y="1156"/>
                  </a:lnTo>
                  <a:lnTo>
                    <a:pt x="13622" y="1089"/>
                  </a:lnTo>
                  <a:lnTo>
                    <a:pt x="13737" y="1002"/>
                  </a:lnTo>
                  <a:lnTo>
                    <a:pt x="13756" y="896"/>
                  </a:lnTo>
                  <a:lnTo>
                    <a:pt x="13660" y="790"/>
                  </a:lnTo>
                  <a:lnTo>
                    <a:pt x="13431" y="674"/>
                  </a:lnTo>
                  <a:lnTo>
                    <a:pt x="12685" y="453"/>
                  </a:lnTo>
                  <a:lnTo>
                    <a:pt x="12359" y="549"/>
                  </a:lnTo>
                  <a:lnTo>
                    <a:pt x="11250" y="250"/>
                  </a:lnTo>
                  <a:lnTo>
                    <a:pt x="10790" y="270"/>
                  </a:lnTo>
                  <a:lnTo>
                    <a:pt x="10408" y="308"/>
                  </a:lnTo>
                  <a:lnTo>
                    <a:pt x="10121" y="376"/>
                  </a:lnTo>
                  <a:lnTo>
                    <a:pt x="9910" y="462"/>
                  </a:lnTo>
                  <a:lnTo>
                    <a:pt x="9738" y="588"/>
                  </a:lnTo>
                  <a:lnTo>
                    <a:pt x="9585" y="742"/>
                  </a:lnTo>
                  <a:lnTo>
                    <a:pt x="9451" y="925"/>
                  </a:lnTo>
                  <a:lnTo>
                    <a:pt x="9298" y="1146"/>
                  </a:lnTo>
                  <a:lnTo>
                    <a:pt x="9241" y="1696"/>
                  </a:lnTo>
                  <a:lnTo>
                    <a:pt x="9260" y="2206"/>
                  </a:lnTo>
                  <a:lnTo>
                    <a:pt x="9375" y="2688"/>
                  </a:lnTo>
                  <a:lnTo>
                    <a:pt x="9528" y="3141"/>
                  </a:lnTo>
                  <a:lnTo>
                    <a:pt x="9776" y="3594"/>
                  </a:lnTo>
                  <a:lnTo>
                    <a:pt x="10083" y="4066"/>
                  </a:lnTo>
                  <a:lnTo>
                    <a:pt x="10427" y="4547"/>
                  </a:lnTo>
                  <a:lnTo>
                    <a:pt x="10829" y="5097"/>
                  </a:lnTo>
                  <a:lnTo>
                    <a:pt x="10657" y="5308"/>
                  </a:lnTo>
                  <a:lnTo>
                    <a:pt x="10848" y="5588"/>
                  </a:lnTo>
                  <a:lnTo>
                    <a:pt x="11039" y="5829"/>
                  </a:lnTo>
                  <a:lnTo>
                    <a:pt x="11230" y="6060"/>
                  </a:lnTo>
                  <a:lnTo>
                    <a:pt x="11422" y="6262"/>
                  </a:lnTo>
                  <a:lnTo>
                    <a:pt x="11632" y="6436"/>
                  </a:lnTo>
                  <a:lnTo>
                    <a:pt x="11843" y="6609"/>
                  </a:lnTo>
                  <a:lnTo>
                    <a:pt x="12072" y="6754"/>
                  </a:lnTo>
                  <a:lnTo>
                    <a:pt x="12302" y="6869"/>
                  </a:lnTo>
                  <a:lnTo>
                    <a:pt x="12589" y="6994"/>
                  </a:lnTo>
                  <a:lnTo>
                    <a:pt x="12876" y="7110"/>
                  </a:lnTo>
                  <a:lnTo>
                    <a:pt x="13220" y="7197"/>
                  </a:lnTo>
                  <a:lnTo>
                    <a:pt x="13584" y="7293"/>
                  </a:lnTo>
                  <a:lnTo>
                    <a:pt x="13985" y="7380"/>
                  </a:lnTo>
                  <a:lnTo>
                    <a:pt x="14445" y="7457"/>
                  </a:lnTo>
                  <a:lnTo>
                    <a:pt x="14923" y="7553"/>
                  </a:lnTo>
                  <a:lnTo>
                    <a:pt x="15478" y="7640"/>
                  </a:lnTo>
                  <a:lnTo>
                    <a:pt x="15478" y="7968"/>
                  </a:lnTo>
                  <a:lnTo>
                    <a:pt x="15440" y="8257"/>
                  </a:lnTo>
                  <a:lnTo>
                    <a:pt x="15363" y="8526"/>
                  </a:lnTo>
                  <a:lnTo>
                    <a:pt x="15306" y="8758"/>
                  </a:lnTo>
                  <a:lnTo>
                    <a:pt x="15191" y="8969"/>
                  </a:lnTo>
                  <a:lnTo>
                    <a:pt x="15038" y="9172"/>
                  </a:lnTo>
                  <a:lnTo>
                    <a:pt x="14885" y="9345"/>
                  </a:lnTo>
                  <a:lnTo>
                    <a:pt x="14674" y="9519"/>
                  </a:lnTo>
                  <a:lnTo>
                    <a:pt x="14426" y="9682"/>
                  </a:lnTo>
                  <a:lnTo>
                    <a:pt x="14158" y="9827"/>
                  </a:lnTo>
                  <a:lnTo>
                    <a:pt x="13832" y="9981"/>
                  </a:lnTo>
                  <a:lnTo>
                    <a:pt x="13469" y="10135"/>
                  </a:lnTo>
                  <a:lnTo>
                    <a:pt x="13086" y="10289"/>
                  </a:lnTo>
                  <a:lnTo>
                    <a:pt x="12608" y="10472"/>
                  </a:lnTo>
                  <a:lnTo>
                    <a:pt x="12130" y="10646"/>
                  </a:lnTo>
                  <a:lnTo>
                    <a:pt x="11575" y="10848"/>
                  </a:lnTo>
                  <a:lnTo>
                    <a:pt x="10657" y="11137"/>
                  </a:lnTo>
                  <a:lnTo>
                    <a:pt x="9738" y="11417"/>
                  </a:lnTo>
                  <a:lnTo>
                    <a:pt x="8820" y="11696"/>
                  </a:lnTo>
                  <a:lnTo>
                    <a:pt x="7921" y="11966"/>
                  </a:lnTo>
                  <a:lnTo>
                    <a:pt x="7041" y="12255"/>
                  </a:lnTo>
                  <a:lnTo>
                    <a:pt x="6160" y="12544"/>
                  </a:lnTo>
                  <a:lnTo>
                    <a:pt x="5338" y="12842"/>
                  </a:lnTo>
                  <a:lnTo>
                    <a:pt x="4553" y="13160"/>
                  </a:lnTo>
                  <a:lnTo>
                    <a:pt x="3788" y="13478"/>
                  </a:lnTo>
                  <a:lnTo>
                    <a:pt x="3080" y="13835"/>
                  </a:lnTo>
                  <a:lnTo>
                    <a:pt x="2411" y="14211"/>
                  </a:lnTo>
                  <a:lnTo>
                    <a:pt x="1798" y="14615"/>
                  </a:lnTo>
                  <a:lnTo>
                    <a:pt x="1263" y="15049"/>
                  </a:lnTo>
                  <a:lnTo>
                    <a:pt x="784" y="15511"/>
                  </a:lnTo>
                  <a:lnTo>
                    <a:pt x="364" y="16022"/>
                  </a:lnTo>
                  <a:lnTo>
                    <a:pt x="38" y="16571"/>
                  </a:lnTo>
                  <a:lnTo>
                    <a:pt x="0" y="17120"/>
                  </a:lnTo>
                  <a:lnTo>
                    <a:pt x="38" y="17621"/>
                  </a:lnTo>
                  <a:lnTo>
                    <a:pt x="191" y="18074"/>
                  </a:lnTo>
                  <a:lnTo>
                    <a:pt x="440" y="18498"/>
                  </a:lnTo>
                  <a:lnTo>
                    <a:pt x="804" y="18902"/>
                  </a:lnTo>
                  <a:lnTo>
                    <a:pt x="1263" y="19249"/>
                  </a:lnTo>
                  <a:lnTo>
                    <a:pt x="1818" y="19577"/>
                  </a:lnTo>
                  <a:lnTo>
                    <a:pt x="2487" y="19847"/>
                  </a:lnTo>
                  <a:lnTo>
                    <a:pt x="3214" y="20087"/>
                  </a:lnTo>
                  <a:lnTo>
                    <a:pt x="3999" y="20290"/>
                  </a:lnTo>
                  <a:lnTo>
                    <a:pt x="4860" y="20444"/>
                  </a:lnTo>
                  <a:lnTo>
                    <a:pt x="5778" y="20588"/>
                  </a:lnTo>
                  <a:lnTo>
                    <a:pt x="6754" y="20685"/>
                  </a:lnTo>
                  <a:lnTo>
                    <a:pt x="7787" y="20762"/>
                  </a:lnTo>
                  <a:lnTo>
                    <a:pt x="8858" y="20829"/>
                  </a:lnTo>
                  <a:lnTo>
                    <a:pt x="9949" y="20868"/>
                  </a:lnTo>
                  <a:lnTo>
                    <a:pt x="11077" y="20877"/>
                  </a:lnTo>
                  <a:lnTo>
                    <a:pt x="12225" y="20877"/>
                  </a:lnTo>
                  <a:lnTo>
                    <a:pt x="13392" y="20868"/>
                  </a:lnTo>
                  <a:lnTo>
                    <a:pt x="14559" y="20839"/>
                  </a:lnTo>
                  <a:lnTo>
                    <a:pt x="14540" y="20646"/>
                  </a:lnTo>
                  <a:lnTo>
                    <a:pt x="15784" y="20646"/>
                  </a:lnTo>
                  <a:lnTo>
                    <a:pt x="15860" y="20762"/>
                  </a:lnTo>
                  <a:lnTo>
                    <a:pt x="15918" y="20877"/>
                  </a:lnTo>
                  <a:lnTo>
                    <a:pt x="16013" y="20964"/>
                  </a:lnTo>
                  <a:lnTo>
                    <a:pt x="16128" y="21051"/>
                  </a:lnTo>
                  <a:lnTo>
                    <a:pt x="16224" y="21128"/>
                  </a:lnTo>
                  <a:lnTo>
                    <a:pt x="16358" y="21205"/>
                  </a:lnTo>
                  <a:lnTo>
                    <a:pt x="16511" y="21301"/>
                  </a:lnTo>
                  <a:lnTo>
                    <a:pt x="16683" y="21398"/>
                  </a:lnTo>
                  <a:lnTo>
                    <a:pt x="16970" y="21455"/>
                  </a:lnTo>
                  <a:lnTo>
                    <a:pt x="17219" y="21494"/>
                  </a:lnTo>
                  <a:lnTo>
                    <a:pt x="17487" y="21533"/>
                  </a:lnTo>
                  <a:lnTo>
                    <a:pt x="17735" y="21561"/>
                  </a:lnTo>
                  <a:lnTo>
                    <a:pt x="17946" y="21571"/>
                  </a:lnTo>
                  <a:lnTo>
                    <a:pt x="18175" y="21600"/>
                  </a:lnTo>
                  <a:lnTo>
                    <a:pt x="18386" y="21600"/>
                  </a:lnTo>
                  <a:lnTo>
                    <a:pt x="18577" y="21600"/>
                  </a:lnTo>
                  <a:lnTo>
                    <a:pt x="18807" y="21581"/>
                  </a:lnTo>
                  <a:lnTo>
                    <a:pt x="18998" y="21561"/>
                  </a:lnTo>
                  <a:lnTo>
                    <a:pt x="19228" y="21533"/>
                  </a:lnTo>
                  <a:lnTo>
                    <a:pt x="19438" y="21484"/>
                  </a:lnTo>
                  <a:lnTo>
                    <a:pt x="19668" y="21436"/>
                  </a:lnTo>
                  <a:lnTo>
                    <a:pt x="19916" y="21378"/>
                  </a:lnTo>
                  <a:lnTo>
                    <a:pt x="20127" y="21311"/>
                  </a:lnTo>
                  <a:lnTo>
                    <a:pt x="20395" y="21215"/>
                  </a:lnTo>
                  <a:lnTo>
                    <a:pt x="20567" y="21041"/>
                  </a:lnTo>
                  <a:lnTo>
                    <a:pt x="20720" y="20849"/>
                  </a:lnTo>
                  <a:lnTo>
                    <a:pt x="20835" y="20675"/>
                  </a:lnTo>
                  <a:lnTo>
                    <a:pt x="20892" y="20502"/>
                  </a:lnTo>
                  <a:lnTo>
                    <a:pt x="20950" y="20309"/>
                  </a:lnTo>
                  <a:lnTo>
                    <a:pt x="20969" y="20116"/>
                  </a:lnTo>
                  <a:lnTo>
                    <a:pt x="20950" y="19933"/>
                  </a:lnTo>
                  <a:lnTo>
                    <a:pt x="20892" y="19731"/>
                  </a:lnTo>
                  <a:lnTo>
                    <a:pt x="20605" y="19567"/>
                  </a:lnTo>
                  <a:lnTo>
                    <a:pt x="20318" y="19413"/>
                  </a:lnTo>
                  <a:lnTo>
                    <a:pt x="20069" y="19288"/>
                  </a:lnTo>
                  <a:lnTo>
                    <a:pt x="19782" y="19172"/>
                  </a:lnTo>
                  <a:lnTo>
                    <a:pt x="19495" y="19076"/>
                  </a:lnTo>
                  <a:lnTo>
                    <a:pt x="19228" y="19008"/>
                  </a:lnTo>
                  <a:lnTo>
                    <a:pt x="18941" y="18960"/>
                  </a:lnTo>
                  <a:lnTo>
                    <a:pt x="18654" y="18931"/>
                  </a:lnTo>
                  <a:lnTo>
                    <a:pt x="18367" y="18922"/>
                  </a:lnTo>
                  <a:lnTo>
                    <a:pt x="18061" y="18931"/>
                  </a:lnTo>
                  <a:lnTo>
                    <a:pt x="17774" y="18960"/>
                  </a:lnTo>
                  <a:lnTo>
                    <a:pt x="17448" y="19018"/>
                  </a:lnTo>
                  <a:lnTo>
                    <a:pt x="17123" y="19095"/>
                  </a:lnTo>
                  <a:lnTo>
                    <a:pt x="16779" y="19201"/>
                  </a:lnTo>
                  <a:lnTo>
                    <a:pt x="16454" y="19317"/>
                  </a:lnTo>
                  <a:lnTo>
                    <a:pt x="16071" y="19461"/>
                  </a:lnTo>
                  <a:lnTo>
                    <a:pt x="15803" y="19760"/>
                  </a:lnTo>
                  <a:lnTo>
                    <a:pt x="15612" y="20376"/>
                  </a:lnTo>
                  <a:lnTo>
                    <a:pt x="14445" y="20367"/>
                  </a:lnTo>
                  <a:lnTo>
                    <a:pt x="14426" y="20174"/>
                  </a:lnTo>
                  <a:lnTo>
                    <a:pt x="13565" y="20193"/>
                  </a:lnTo>
                  <a:lnTo>
                    <a:pt x="12685" y="20222"/>
                  </a:lnTo>
                  <a:lnTo>
                    <a:pt x="11785" y="20222"/>
                  </a:lnTo>
                  <a:lnTo>
                    <a:pt x="10848" y="20222"/>
                  </a:lnTo>
                  <a:lnTo>
                    <a:pt x="9949" y="20193"/>
                  </a:lnTo>
                  <a:lnTo>
                    <a:pt x="9030" y="20164"/>
                  </a:lnTo>
                  <a:lnTo>
                    <a:pt x="8150" y="20107"/>
                  </a:lnTo>
                  <a:lnTo>
                    <a:pt x="7270" y="20030"/>
                  </a:lnTo>
                  <a:lnTo>
                    <a:pt x="6428" y="19943"/>
                  </a:lnTo>
                  <a:lnTo>
                    <a:pt x="5606" y="19818"/>
                  </a:lnTo>
                  <a:lnTo>
                    <a:pt x="4860" y="19673"/>
                  </a:lnTo>
                  <a:lnTo>
                    <a:pt x="4152" y="19500"/>
                  </a:lnTo>
                  <a:lnTo>
                    <a:pt x="3501" y="19297"/>
                  </a:lnTo>
                  <a:lnTo>
                    <a:pt x="2927" y="19066"/>
                  </a:lnTo>
                  <a:lnTo>
                    <a:pt x="2430" y="18796"/>
                  </a:lnTo>
                  <a:lnTo>
                    <a:pt x="2028" y="18498"/>
                  </a:lnTo>
                  <a:lnTo>
                    <a:pt x="1818" y="18295"/>
                  </a:lnTo>
                  <a:lnTo>
                    <a:pt x="1645" y="18074"/>
                  </a:lnTo>
                  <a:lnTo>
                    <a:pt x="1511" y="17843"/>
                  </a:lnTo>
                  <a:lnTo>
                    <a:pt x="1416" y="17602"/>
                  </a:lnTo>
                  <a:lnTo>
                    <a:pt x="1378" y="17332"/>
                  </a:lnTo>
                  <a:lnTo>
                    <a:pt x="1378" y="17053"/>
                  </a:lnTo>
                  <a:lnTo>
                    <a:pt x="1416" y="16754"/>
                  </a:lnTo>
                  <a:lnTo>
                    <a:pt x="1511" y="16446"/>
                  </a:lnTo>
                  <a:lnTo>
                    <a:pt x="2047" y="15916"/>
                  </a:lnTo>
                  <a:lnTo>
                    <a:pt x="2621" y="15424"/>
                  </a:lnTo>
                  <a:lnTo>
                    <a:pt x="3195" y="14972"/>
                  </a:lnTo>
                  <a:lnTo>
                    <a:pt x="3807" y="14557"/>
                  </a:lnTo>
                  <a:lnTo>
                    <a:pt x="4439" y="14191"/>
                  </a:lnTo>
                  <a:lnTo>
                    <a:pt x="5108" y="13844"/>
                  </a:lnTo>
                  <a:lnTo>
                    <a:pt x="5778" y="13526"/>
                  </a:lnTo>
                  <a:lnTo>
                    <a:pt x="6505" y="13209"/>
                  </a:lnTo>
                  <a:lnTo>
                    <a:pt x="7232" y="12939"/>
                  </a:lnTo>
                  <a:lnTo>
                    <a:pt x="8035" y="12659"/>
                  </a:lnTo>
                  <a:lnTo>
                    <a:pt x="8820" y="12390"/>
                  </a:lnTo>
                  <a:lnTo>
                    <a:pt x="9662" y="12120"/>
                  </a:lnTo>
                  <a:lnTo>
                    <a:pt x="10542" y="11860"/>
                  </a:lnTo>
                  <a:lnTo>
                    <a:pt x="11441" y="11580"/>
                  </a:lnTo>
                  <a:lnTo>
                    <a:pt x="12378" y="11291"/>
                  </a:lnTo>
                  <a:lnTo>
                    <a:pt x="13335" y="10993"/>
                  </a:lnTo>
                  <a:lnTo>
                    <a:pt x="13775" y="10829"/>
                  </a:lnTo>
                  <a:lnTo>
                    <a:pt x="14177" y="10665"/>
                  </a:lnTo>
                  <a:lnTo>
                    <a:pt x="14559" y="10511"/>
                  </a:lnTo>
                  <a:lnTo>
                    <a:pt x="14885" y="10347"/>
                  </a:lnTo>
                  <a:lnTo>
                    <a:pt x="15191" y="10193"/>
                  </a:lnTo>
                  <a:lnTo>
                    <a:pt x="15478" y="10010"/>
                  </a:lnTo>
                  <a:lnTo>
                    <a:pt x="15746" y="9846"/>
                  </a:lnTo>
                  <a:lnTo>
                    <a:pt x="15956" y="9663"/>
                  </a:lnTo>
                  <a:lnTo>
                    <a:pt x="16167" y="9461"/>
                  </a:lnTo>
                  <a:lnTo>
                    <a:pt x="16339" y="9259"/>
                  </a:lnTo>
                  <a:lnTo>
                    <a:pt x="16473" y="9037"/>
                  </a:lnTo>
                  <a:lnTo>
                    <a:pt x="16607" y="8796"/>
                  </a:lnTo>
                  <a:lnTo>
                    <a:pt x="16721" y="8536"/>
                  </a:lnTo>
                  <a:lnTo>
                    <a:pt x="16779" y="8257"/>
                  </a:lnTo>
                  <a:lnTo>
                    <a:pt x="16855" y="7948"/>
                  </a:lnTo>
                  <a:lnTo>
                    <a:pt x="16894" y="7630"/>
                  </a:lnTo>
                  <a:lnTo>
                    <a:pt x="17353" y="7534"/>
                  </a:lnTo>
                  <a:lnTo>
                    <a:pt x="17793" y="7447"/>
                  </a:lnTo>
                  <a:lnTo>
                    <a:pt x="18195" y="7351"/>
                  </a:lnTo>
                  <a:lnTo>
                    <a:pt x="18577" y="7264"/>
                  </a:lnTo>
                  <a:lnTo>
                    <a:pt x="18922" y="7158"/>
                  </a:lnTo>
                  <a:lnTo>
                    <a:pt x="19247" y="7052"/>
                  </a:lnTo>
                  <a:lnTo>
                    <a:pt x="19553" y="6937"/>
                  </a:lnTo>
                  <a:lnTo>
                    <a:pt x="19821" y="6821"/>
                  </a:lnTo>
                  <a:lnTo>
                    <a:pt x="20089" y="6686"/>
                  </a:lnTo>
                  <a:lnTo>
                    <a:pt x="20299" y="6542"/>
                  </a:lnTo>
                  <a:lnTo>
                    <a:pt x="20529" y="6368"/>
                  </a:lnTo>
                  <a:lnTo>
                    <a:pt x="20720" y="6195"/>
                  </a:lnTo>
                  <a:lnTo>
                    <a:pt x="20892" y="6002"/>
                  </a:lnTo>
                  <a:lnTo>
                    <a:pt x="21045" y="5800"/>
                  </a:lnTo>
                  <a:lnTo>
                    <a:pt x="21217" y="5559"/>
                  </a:lnTo>
                  <a:lnTo>
                    <a:pt x="21332" y="5308"/>
                  </a:lnTo>
                  <a:lnTo>
                    <a:pt x="21103" y="5125"/>
                  </a:lnTo>
                  <a:lnTo>
                    <a:pt x="21294" y="4605"/>
                  </a:lnTo>
                  <a:lnTo>
                    <a:pt x="21447" y="4114"/>
                  </a:lnTo>
                  <a:lnTo>
                    <a:pt x="21543" y="3642"/>
                  </a:lnTo>
                  <a:lnTo>
                    <a:pt x="21600" y="3189"/>
                  </a:lnTo>
                  <a:lnTo>
                    <a:pt x="21600" y="2717"/>
                  </a:lnTo>
                  <a:lnTo>
                    <a:pt x="21562" y="2245"/>
                  </a:lnTo>
                  <a:lnTo>
                    <a:pt x="21466" y="1744"/>
                  </a:lnTo>
                  <a:lnTo>
                    <a:pt x="21332" y="1204"/>
                  </a:lnTo>
                  <a:lnTo>
                    <a:pt x="21179" y="935"/>
                  </a:lnTo>
                  <a:lnTo>
                    <a:pt x="21026" y="694"/>
                  </a:lnTo>
                  <a:lnTo>
                    <a:pt x="20854" y="501"/>
                  </a:lnTo>
                  <a:lnTo>
                    <a:pt x="20643" y="328"/>
                  </a:lnTo>
                  <a:lnTo>
                    <a:pt x="20376" y="202"/>
                  </a:lnTo>
                  <a:lnTo>
                    <a:pt x="20069" y="96"/>
                  </a:lnTo>
                  <a:lnTo>
                    <a:pt x="19668" y="29"/>
                  </a:lnTo>
                  <a:lnTo>
                    <a:pt x="19189" y="0"/>
                  </a:lnTo>
                  <a:lnTo>
                    <a:pt x="17544" y="462"/>
                  </a:lnTo>
                  <a:lnTo>
                    <a:pt x="17525" y="462"/>
                  </a:lnTo>
                  <a:lnTo>
                    <a:pt x="17487" y="453"/>
                  </a:lnTo>
                  <a:lnTo>
                    <a:pt x="17448" y="453"/>
                  </a:lnTo>
                  <a:lnTo>
                    <a:pt x="17391" y="453"/>
                  </a:lnTo>
                  <a:close/>
                  <a:moveTo>
                    <a:pt x="17391" y="453"/>
                  </a:moveTo>
                </a:path>
              </a:pathLst>
            </a:custGeom>
            <a:solidFill>
              <a:srgbClr val="00B8B4"/>
            </a:solidFill>
            <a:ln>
              <a:noFill/>
            </a:ln>
            <a:extLst/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  <p:sp>
          <p:nvSpPr>
            <p:cNvPr id="218" name="Freeform 39"/>
            <p:cNvSpPr>
              <a:spLocks/>
            </p:cNvSpPr>
            <p:nvPr>
              <p:custDataLst>
                <p:tags r:id="rId111"/>
              </p:custDataLst>
            </p:nvPr>
          </p:nvSpPr>
          <p:spPr bwMode="gray">
            <a:xfrm>
              <a:off x="461038" y="4217661"/>
              <a:ext cx="140022" cy="277873"/>
            </a:xfrm>
            <a:custGeom>
              <a:avLst/>
              <a:gdLst>
                <a:gd name="T0" fmla="*/ 16033 w 21600"/>
                <a:gd name="T1" fmla="*/ 983 h 21600"/>
                <a:gd name="T2" fmla="*/ 17659 w 21600"/>
                <a:gd name="T3" fmla="*/ 896 h 21600"/>
                <a:gd name="T4" fmla="*/ 20356 w 21600"/>
                <a:gd name="T5" fmla="*/ 520 h 21600"/>
                <a:gd name="T6" fmla="*/ 21141 w 21600"/>
                <a:gd name="T7" fmla="*/ 2274 h 21600"/>
                <a:gd name="T8" fmla="*/ 20663 w 21600"/>
                <a:gd name="T9" fmla="*/ 5039 h 21600"/>
                <a:gd name="T10" fmla="*/ 19515 w 21600"/>
                <a:gd name="T11" fmla="*/ 6060 h 21600"/>
                <a:gd name="T12" fmla="*/ 18233 w 21600"/>
                <a:gd name="T13" fmla="*/ 6725 h 21600"/>
                <a:gd name="T14" fmla="*/ 15937 w 21600"/>
                <a:gd name="T15" fmla="*/ 7043 h 21600"/>
                <a:gd name="T16" fmla="*/ 13565 w 21600"/>
                <a:gd name="T17" fmla="*/ 6628 h 21600"/>
                <a:gd name="T18" fmla="*/ 12359 w 21600"/>
                <a:gd name="T19" fmla="*/ 5915 h 21600"/>
                <a:gd name="T20" fmla="*/ 10810 w 21600"/>
                <a:gd name="T21" fmla="*/ 4374 h 21600"/>
                <a:gd name="T22" fmla="*/ 9662 w 21600"/>
                <a:gd name="T23" fmla="*/ 1763 h 21600"/>
                <a:gd name="T24" fmla="*/ 10465 w 21600"/>
                <a:gd name="T25" fmla="*/ 520 h 21600"/>
                <a:gd name="T26" fmla="*/ 12818 w 21600"/>
                <a:gd name="T27" fmla="*/ 1175 h 21600"/>
                <a:gd name="T28" fmla="*/ 13756 w 21600"/>
                <a:gd name="T29" fmla="*/ 896 h 21600"/>
                <a:gd name="T30" fmla="*/ 10790 w 21600"/>
                <a:gd name="T31" fmla="*/ 270 h 21600"/>
                <a:gd name="T32" fmla="*/ 9451 w 21600"/>
                <a:gd name="T33" fmla="*/ 925 h 21600"/>
                <a:gd name="T34" fmla="*/ 9776 w 21600"/>
                <a:gd name="T35" fmla="*/ 3594 h 21600"/>
                <a:gd name="T36" fmla="*/ 11039 w 21600"/>
                <a:gd name="T37" fmla="*/ 5829 h 21600"/>
                <a:gd name="T38" fmla="*/ 12302 w 21600"/>
                <a:gd name="T39" fmla="*/ 6869 h 21600"/>
                <a:gd name="T40" fmla="*/ 14445 w 21600"/>
                <a:gd name="T41" fmla="*/ 7457 h 21600"/>
                <a:gd name="T42" fmla="*/ 15306 w 21600"/>
                <a:gd name="T43" fmla="*/ 8758 h 21600"/>
                <a:gd name="T44" fmla="*/ 14158 w 21600"/>
                <a:gd name="T45" fmla="*/ 9827 h 21600"/>
                <a:gd name="T46" fmla="*/ 11575 w 21600"/>
                <a:gd name="T47" fmla="*/ 10848 h 21600"/>
                <a:gd name="T48" fmla="*/ 6160 w 21600"/>
                <a:gd name="T49" fmla="*/ 12544 h 21600"/>
                <a:gd name="T50" fmla="*/ 1798 w 21600"/>
                <a:gd name="T51" fmla="*/ 14615 h 21600"/>
                <a:gd name="T52" fmla="*/ 38 w 21600"/>
                <a:gd name="T53" fmla="*/ 17621 h 21600"/>
                <a:gd name="T54" fmla="*/ 2487 w 21600"/>
                <a:gd name="T55" fmla="*/ 19847 h 21600"/>
                <a:gd name="T56" fmla="*/ 7787 w 21600"/>
                <a:gd name="T57" fmla="*/ 20762 h 21600"/>
                <a:gd name="T58" fmla="*/ 14559 w 21600"/>
                <a:gd name="T59" fmla="*/ 20839 h 21600"/>
                <a:gd name="T60" fmla="*/ 16128 w 21600"/>
                <a:gd name="T61" fmla="*/ 21051 h 21600"/>
                <a:gd name="T62" fmla="*/ 17219 w 21600"/>
                <a:gd name="T63" fmla="*/ 21494 h 21600"/>
                <a:gd name="T64" fmla="*/ 18577 w 21600"/>
                <a:gd name="T65" fmla="*/ 21600 h 21600"/>
                <a:gd name="T66" fmla="*/ 19916 w 21600"/>
                <a:gd name="T67" fmla="*/ 21378 h 21600"/>
                <a:gd name="T68" fmla="*/ 20892 w 21600"/>
                <a:gd name="T69" fmla="*/ 20502 h 21600"/>
                <a:gd name="T70" fmla="*/ 20318 w 21600"/>
                <a:gd name="T71" fmla="*/ 19413 h 21600"/>
                <a:gd name="T72" fmla="*/ 18654 w 21600"/>
                <a:gd name="T73" fmla="*/ 18931 h 21600"/>
                <a:gd name="T74" fmla="*/ 16779 w 21600"/>
                <a:gd name="T75" fmla="*/ 19201 h 21600"/>
                <a:gd name="T76" fmla="*/ 14426 w 21600"/>
                <a:gd name="T77" fmla="*/ 20174 h 21600"/>
                <a:gd name="T78" fmla="*/ 9030 w 21600"/>
                <a:gd name="T79" fmla="*/ 20164 h 21600"/>
                <a:gd name="T80" fmla="*/ 4152 w 21600"/>
                <a:gd name="T81" fmla="*/ 19500 h 21600"/>
                <a:gd name="T82" fmla="*/ 1645 w 21600"/>
                <a:gd name="T83" fmla="*/ 18074 h 21600"/>
                <a:gd name="T84" fmla="*/ 1511 w 21600"/>
                <a:gd name="T85" fmla="*/ 16446 h 21600"/>
                <a:gd name="T86" fmla="*/ 5108 w 21600"/>
                <a:gd name="T87" fmla="*/ 13844 h 21600"/>
                <a:gd name="T88" fmla="*/ 9662 w 21600"/>
                <a:gd name="T89" fmla="*/ 12120 h 21600"/>
                <a:gd name="T90" fmla="*/ 14177 w 21600"/>
                <a:gd name="T91" fmla="*/ 10665 h 21600"/>
                <a:gd name="T92" fmla="*/ 15956 w 21600"/>
                <a:gd name="T93" fmla="*/ 9663 h 21600"/>
                <a:gd name="T94" fmla="*/ 16779 w 21600"/>
                <a:gd name="T95" fmla="*/ 8257 h 21600"/>
                <a:gd name="T96" fmla="*/ 18577 w 21600"/>
                <a:gd name="T97" fmla="*/ 7264 h 21600"/>
                <a:gd name="T98" fmla="*/ 20299 w 21600"/>
                <a:gd name="T99" fmla="*/ 6542 h 21600"/>
                <a:gd name="T100" fmla="*/ 21332 w 21600"/>
                <a:gd name="T101" fmla="*/ 5308 h 21600"/>
                <a:gd name="T102" fmla="*/ 21600 w 21600"/>
                <a:gd name="T103" fmla="*/ 2717 h 21600"/>
                <a:gd name="T104" fmla="*/ 20854 w 21600"/>
                <a:gd name="T105" fmla="*/ 501 h 21600"/>
                <a:gd name="T106" fmla="*/ 17544 w 21600"/>
                <a:gd name="T107" fmla="*/ 46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600" h="21600">
                  <a:moveTo>
                    <a:pt x="17391" y="453"/>
                  </a:moveTo>
                  <a:lnTo>
                    <a:pt x="16798" y="453"/>
                  </a:lnTo>
                  <a:lnTo>
                    <a:pt x="16243" y="607"/>
                  </a:lnTo>
                  <a:lnTo>
                    <a:pt x="16052" y="742"/>
                  </a:lnTo>
                  <a:lnTo>
                    <a:pt x="15994" y="877"/>
                  </a:lnTo>
                  <a:lnTo>
                    <a:pt x="16033" y="983"/>
                  </a:lnTo>
                  <a:lnTo>
                    <a:pt x="16167" y="1079"/>
                  </a:lnTo>
                  <a:lnTo>
                    <a:pt x="16358" y="1127"/>
                  </a:lnTo>
                  <a:lnTo>
                    <a:pt x="16607" y="1156"/>
                  </a:lnTo>
                  <a:lnTo>
                    <a:pt x="16855" y="1127"/>
                  </a:lnTo>
                  <a:lnTo>
                    <a:pt x="17066" y="1040"/>
                  </a:lnTo>
                  <a:lnTo>
                    <a:pt x="17659" y="896"/>
                  </a:lnTo>
                  <a:lnTo>
                    <a:pt x="17793" y="674"/>
                  </a:lnTo>
                  <a:lnTo>
                    <a:pt x="19151" y="222"/>
                  </a:lnTo>
                  <a:lnTo>
                    <a:pt x="19553" y="241"/>
                  </a:lnTo>
                  <a:lnTo>
                    <a:pt x="19859" y="299"/>
                  </a:lnTo>
                  <a:lnTo>
                    <a:pt x="20127" y="385"/>
                  </a:lnTo>
                  <a:lnTo>
                    <a:pt x="20356" y="520"/>
                  </a:lnTo>
                  <a:lnTo>
                    <a:pt x="20548" y="674"/>
                  </a:lnTo>
                  <a:lnTo>
                    <a:pt x="20701" y="867"/>
                  </a:lnTo>
                  <a:lnTo>
                    <a:pt x="20835" y="1079"/>
                  </a:lnTo>
                  <a:lnTo>
                    <a:pt x="20988" y="1310"/>
                  </a:lnTo>
                  <a:lnTo>
                    <a:pt x="21103" y="1811"/>
                  </a:lnTo>
                  <a:lnTo>
                    <a:pt x="21141" y="2274"/>
                  </a:lnTo>
                  <a:lnTo>
                    <a:pt x="21160" y="2726"/>
                  </a:lnTo>
                  <a:lnTo>
                    <a:pt x="21122" y="3179"/>
                  </a:lnTo>
                  <a:lnTo>
                    <a:pt x="21045" y="3603"/>
                  </a:lnTo>
                  <a:lnTo>
                    <a:pt x="20969" y="4066"/>
                  </a:lnTo>
                  <a:lnTo>
                    <a:pt x="20835" y="4538"/>
                  </a:lnTo>
                  <a:lnTo>
                    <a:pt x="20663" y="5039"/>
                  </a:lnTo>
                  <a:lnTo>
                    <a:pt x="20356" y="5106"/>
                  </a:lnTo>
                  <a:lnTo>
                    <a:pt x="19993" y="5405"/>
                  </a:lnTo>
                  <a:lnTo>
                    <a:pt x="19878" y="5588"/>
                  </a:lnTo>
                  <a:lnTo>
                    <a:pt x="19782" y="5761"/>
                  </a:lnTo>
                  <a:lnTo>
                    <a:pt x="19668" y="5915"/>
                  </a:lnTo>
                  <a:lnTo>
                    <a:pt x="19515" y="6060"/>
                  </a:lnTo>
                  <a:lnTo>
                    <a:pt x="19362" y="6204"/>
                  </a:lnTo>
                  <a:lnTo>
                    <a:pt x="19189" y="6330"/>
                  </a:lnTo>
                  <a:lnTo>
                    <a:pt x="18979" y="6455"/>
                  </a:lnTo>
                  <a:lnTo>
                    <a:pt x="18768" y="6551"/>
                  </a:lnTo>
                  <a:lnTo>
                    <a:pt x="18501" y="6648"/>
                  </a:lnTo>
                  <a:lnTo>
                    <a:pt x="18233" y="6725"/>
                  </a:lnTo>
                  <a:lnTo>
                    <a:pt x="17927" y="6802"/>
                  </a:lnTo>
                  <a:lnTo>
                    <a:pt x="17601" y="6869"/>
                  </a:lnTo>
                  <a:lnTo>
                    <a:pt x="17238" y="6927"/>
                  </a:lnTo>
                  <a:lnTo>
                    <a:pt x="16855" y="6975"/>
                  </a:lnTo>
                  <a:lnTo>
                    <a:pt x="16396" y="7014"/>
                  </a:lnTo>
                  <a:lnTo>
                    <a:pt x="15937" y="7043"/>
                  </a:lnTo>
                  <a:lnTo>
                    <a:pt x="15440" y="6975"/>
                  </a:lnTo>
                  <a:lnTo>
                    <a:pt x="14980" y="6908"/>
                  </a:lnTo>
                  <a:lnTo>
                    <a:pt x="14559" y="6840"/>
                  </a:lnTo>
                  <a:lnTo>
                    <a:pt x="14196" y="6773"/>
                  </a:lnTo>
                  <a:lnTo>
                    <a:pt x="13871" y="6705"/>
                  </a:lnTo>
                  <a:lnTo>
                    <a:pt x="13565" y="6628"/>
                  </a:lnTo>
                  <a:lnTo>
                    <a:pt x="13297" y="6551"/>
                  </a:lnTo>
                  <a:lnTo>
                    <a:pt x="13048" y="6455"/>
                  </a:lnTo>
                  <a:lnTo>
                    <a:pt x="12857" y="6339"/>
                  </a:lnTo>
                  <a:lnTo>
                    <a:pt x="12665" y="6214"/>
                  </a:lnTo>
                  <a:lnTo>
                    <a:pt x="12512" y="6079"/>
                  </a:lnTo>
                  <a:lnTo>
                    <a:pt x="12359" y="5915"/>
                  </a:lnTo>
                  <a:lnTo>
                    <a:pt x="12206" y="5742"/>
                  </a:lnTo>
                  <a:lnTo>
                    <a:pt x="12072" y="5540"/>
                  </a:lnTo>
                  <a:lnTo>
                    <a:pt x="11957" y="5308"/>
                  </a:lnTo>
                  <a:lnTo>
                    <a:pt x="11824" y="5039"/>
                  </a:lnTo>
                  <a:lnTo>
                    <a:pt x="11250" y="4942"/>
                  </a:lnTo>
                  <a:lnTo>
                    <a:pt x="10810" y="4374"/>
                  </a:lnTo>
                  <a:lnTo>
                    <a:pt x="10427" y="3883"/>
                  </a:lnTo>
                  <a:lnTo>
                    <a:pt x="10178" y="3478"/>
                  </a:lnTo>
                  <a:lnTo>
                    <a:pt x="9949" y="3083"/>
                  </a:lnTo>
                  <a:lnTo>
                    <a:pt x="9796" y="2688"/>
                  </a:lnTo>
                  <a:lnTo>
                    <a:pt x="9700" y="2264"/>
                  </a:lnTo>
                  <a:lnTo>
                    <a:pt x="9662" y="1763"/>
                  </a:lnTo>
                  <a:lnTo>
                    <a:pt x="9662" y="1175"/>
                  </a:lnTo>
                  <a:lnTo>
                    <a:pt x="9796" y="973"/>
                  </a:lnTo>
                  <a:lnTo>
                    <a:pt x="9949" y="809"/>
                  </a:lnTo>
                  <a:lnTo>
                    <a:pt x="10083" y="674"/>
                  </a:lnTo>
                  <a:lnTo>
                    <a:pt x="10255" y="588"/>
                  </a:lnTo>
                  <a:lnTo>
                    <a:pt x="10465" y="520"/>
                  </a:lnTo>
                  <a:lnTo>
                    <a:pt x="10695" y="501"/>
                  </a:lnTo>
                  <a:lnTo>
                    <a:pt x="11001" y="491"/>
                  </a:lnTo>
                  <a:lnTo>
                    <a:pt x="11384" y="520"/>
                  </a:lnTo>
                  <a:lnTo>
                    <a:pt x="12149" y="751"/>
                  </a:lnTo>
                  <a:lnTo>
                    <a:pt x="12091" y="954"/>
                  </a:lnTo>
                  <a:lnTo>
                    <a:pt x="12818" y="1175"/>
                  </a:lnTo>
                  <a:lnTo>
                    <a:pt x="13029" y="1195"/>
                  </a:lnTo>
                  <a:lnTo>
                    <a:pt x="13258" y="1195"/>
                  </a:lnTo>
                  <a:lnTo>
                    <a:pt x="13450" y="1156"/>
                  </a:lnTo>
                  <a:lnTo>
                    <a:pt x="13622" y="1089"/>
                  </a:lnTo>
                  <a:lnTo>
                    <a:pt x="13737" y="1002"/>
                  </a:lnTo>
                  <a:lnTo>
                    <a:pt x="13756" y="896"/>
                  </a:lnTo>
                  <a:lnTo>
                    <a:pt x="13660" y="790"/>
                  </a:lnTo>
                  <a:lnTo>
                    <a:pt x="13431" y="674"/>
                  </a:lnTo>
                  <a:lnTo>
                    <a:pt x="12685" y="453"/>
                  </a:lnTo>
                  <a:lnTo>
                    <a:pt x="12359" y="549"/>
                  </a:lnTo>
                  <a:lnTo>
                    <a:pt x="11250" y="250"/>
                  </a:lnTo>
                  <a:lnTo>
                    <a:pt x="10790" y="270"/>
                  </a:lnTo>
                  <a:lnTo>
                    <a:pt x="10408" y="308"/>
                  </a:lnTo>
                  <a:lnTo>
                    <a:pt x="10121" y="376"/>
                  </a:lnTo>
                  <a:lnTo>
                    <a:pt x="9910" y="462"/>
                  </a:lnTo>
                  <a:lnTo>
                    <a:pt x="9738" y="588"/>
                  </a:lnTo>
                  <a:lnTo>
                    <a:pt x="9585" y="742"/>
                  </a:lnTo>
                  <a:lnTo>
                    <a:pt x="9451" y="925"/>
                  </a:lnTo>
                  <a:lnTo>
                    <a:pt x="9298" y="1146"/>
                  </a:lnTo>
                  <a:lnTo>
                    <a:pt x="9241" y="1696"/>
                  </a:lnTo>
                  <a:lnTo>
                    <a:pt x="9260" y="2206"/>
                  </a:lnTo>
                  <a:lnTo>
                    <a:pt x="9375" y="2688"/>
                  </a:lnTo>
                  <a:lnTo>
                    <a:pt x="9528" y="3141"/>
                  </a:lnTo>
                  <a:lnTo>
                    <a:pt x="9776" y="3594"/>
                  </a:lnTo>
                  <a:lnTo>
                    <a:pt x="10083" y="4066"/>
                  </a:lnTo>
                  <a:lnTo>
                    <a:pt x="10427" y="4547"/>
                  </a:lnTo>
                  <a:lnTo>
                    <a:pt x="10829" y="5097"/>
                  </a:lnTo>
                  <a:lnTo>
                    <a:pt x="10657" y="5308"/>
                  </a:lnTo>
                  <a:lnTo>
                    <a:pt x="10848" y="5588"/>
                  </a:lnTo>
                  <a:lnTo>
                    <a:pt x="11039" y="5829"/>
                  </a:lnTo>
                  <a:lnTo>
                    <a:pt x="11230" y="6060"/>
                  </a:lnTo>
                  <a:lnTo>
                    <a:pt x="11422" y="6262"/>
                  </a:lnTo>
                  <a:lnTo>
                    <a:pt x="11632" y="6436"/>
                  </a:lnTo>
                  <a:lnTo>
                    <a:pt x="11843" y="6609"/>
                  </a:lnTo>
                  <a:lnTo>
                    <a:pt x="12072" y="6754"/>
                  </a:lnTo>
                  <a:lnTo>
                    <a:pt x="12302" y="6869"/>
                  </a:lnTo>
                  <a:lnTo>
                    <a:pt x="12589" y="6994"/>
                  </a:lnTo>
                  <a:lnTo>
                    <a:pt x="12876" y="7110"/>
                  </a:lnTo>
                  <a:lnTo>
                    <a:pt x="13220" y="7197"/>
                  </a:lnTo>
                  <a:lnTo>
                    <a:pt x="13584" y="7293"/>
                  </a:lnTo>
                  <a:lnTo>
                    <a:pt x="13985" y="7380"/>
                  </a:lnTo>
                  <a:lnTo>
                    <a:pt x="14445" y="7457"/>
                  </a:lnTo>
                  <a:lnTo>
                    <a:pt x="14923" y="7553"/>
                  </a:lnTo>
                  <a:lnTo>
                    <a:pt x="15478" y="7640"/>
                  </a:lnTo>
                  <a:lnTo>
                    <a:pt x="15478" y="7968"/>
                  </a:lnTo>
                  <a:lnTo>
                    <a:pt x="15440" y="8257"/>
                  </a:lnTo>
                  <a:lnTo>
                    <a:pt x="15363" y="8526"/>
                  </a:lnTo>
                  <a:lnTo>
                    <a:pt x="15306" y="8758"/>
                  </a:lnTo>
                  <a:lnTo>
                    <a:pt x="15191" y="8969"/>
                  </a:lnTo>
                  <a:lnTo>
                    <a:pt x="15038" y="9172"/>
                  </a:lnTo>
                  <a:lnTo>
                    <a:pt x="14885" y="9345"/>
                  </a:lnTo>
                  <a:lnTo>
                    <a:pt x="14674" y="9519"/>
                  </a:lnTo>
                  <a:lnTo>
                    <a:pt x="14426" y="9682"/>
                  </a:lnTo>
                  <a:lnTo>
                    <a:pt x="14158" y="9827"/>
                  </a:lnTo>
                  <a:lnTo>
                    <a:pt x="13832" y="9981"/>
                  </a:lnTo>
                  <a:lnTo>
                    <a:pt x="13469" y="10135"/>
                  </a:lnTo>
                  <a:lnTo>
                    <a:pt x="13086" y="10289"/>
                  </a:lnTo>
                  <a:lnTo>
                    <a:pt x="12608" y="10472"/>
                  </a:lnTo>
                  <a:lnTo>
                    <a:pt x="12130" y="10646"/>
                  </a:lnTo>
                  <a:lnTo>
                    <a:pt x="11575" y="10848"/>
                  </a:lnTo>
                  <a:lnTo>
                    <a:pt x="10657" y="11137"/>
                  </a:lnTo>
                  <a:lnTo>
                    <a:pt x="9738" y="11417"/>
                  </a:lnTo>
                  <a:lnTo>
                    <a:pt x="8820" y="11696"/>
                  </a:lnTo>
                  <a:lnTo>
                    <a:pt x="7921" y="11966"/>
                  </a:lnTo>
                  <a:lnTo>
                    <a:pt x="7041" y="12255"/>
                  </a:lnTo>
                  <a:lnTo>
                    <a:pt x="6160" y="12544"/>
                  </a:lnTo>
                  <a:lnTo>
                    <a:pt x="5338" y="12842"/>
                  </a:lnTo>
                  <a:lnTo>
                    <a:pt x="4553" y="13160"/>
                  </a:lnTo>
                  <a:lnTo>
                    <a:pt x="3788" y="13478"/>
                  </a:lnTo>
                  <a:lnTo>
                    <a:pt x="3080" y="13835"/>
                  </a:lnTo>
                  <a:lnTo>
                    <a:pt x="2411" y="14211"/>
                  </a:lnTo>
                  <a:lnTo>
                    <a:pt x="1798" y="14615"/>
                  </a:lnTo>
                  <a:lnTo>
                    <a:pt x="1263" y="15049"/>
                  </a:lnTo>
                  <a:lnTo>
                    <a:pt x="784" y="15511"/>
                  </a:lnTo>
                  <a:lnTo>
                    <a:pt x="364" y="16022"/>
                  </a:lnTo>
                  <a:lnTo>
                    <a:pt x="38" y="16571"/>
                  </a:lnTo>
                  <a:lnTo>
                    <a:pt x="0" y="17120"/>
                  </a:lnTo>
                  <a:lnTo>
                    <a:pt x="38" y="17621"/>
                  </a:lnTo>
                  <a:lnTo>
                    <a:pt x="191" y="18074"/>
                  </a:lnTo>
                  <a:lnTo>
                    <a:pt x="440" y="18498"/>
                  </a:lnTo>
                  <a:lnTo>
                    <a:pt x="804" y="18902"/>
                  </a:lnTo>
                  <a:lnTo>
                    <a:pt x="1263" y="19249"/>
                  </a:lnTo>
                  <a:lnTo>
                    <a:pt x="1818" y="19577"/>
                  </a:lnTo>
                  <a:lnTo>
                    <a:pt x="2487" y="19847"/>
                  </a:lnTo>
                  <a:lnTo>
                    <a:pt x="3214" y="20087"/>
                  </a:lnTo>
                  <a:lnTo>
                    <a:pt x="3999" y="20290"/>
                  </a:lnTo>
                  <a:lnTo>
                    <a:pt x="4860" y="20444"/>
                  </a:lnTo>
                  <a:lnTo>
                    <a:pt x="5778" y="20588"/>
                  </a:lnTo>
                  <a:lnTo>
                    <a:pt x="6754" y="20685"/>
                  </a:lnTo>
                  <a:lnTo>
                    <a:pt x="7787" y="20762"/>
                  </a:lnTo>
                  <a:lnTo>
                    <a:pt x="8858" y="20829"/>
                  </a:lnTo>
                  <a:lnTo>
                    <a:pt x="9949" y="20868"/>
                  </a:lnTo>
                  <a:lnTo>
                    <a:pt x="11077" y="20877"/>
                  </a:lnTo>
                  <a:lnTo>
                    <a:pt x="12225" y="20877"/>
                  </a:lnTo>
                  <a:lnTo>
                    <a:pt x="13392" y="20868"/>
                  </a:lnTo>
                  <a:lnTo>
                    <a:pt x="14559" y="20839"/>
                  </a:lnTo>
                  <a:lnTo>
                    <a:pt x="14540" y="20646"/>
                  </a:lnTo>
                  <a:lnTo>
                    <a:pt x="15784" y="20646"/>
                  </a:lnTo>
                  <a:lnTo>
                    <a:pt x="15860" y="20762"/>
                  </a:lnTo>
                  <a:lnTo>
                    <a:pt x="15918" y="20877"/>
                  </a:lnTo>
                  <a:lnTo>
                    <a:pt x="16013" y="20964"/>
                  </a:lnTo>
                  <a:lnTo>
                    <a:pt x="16128" y="21051"/>
                  </a:lnTo>
                  <a:lnTo>
                    <a:pt x="16224" y="21128"/>
                  </a:lnTo>
                  <a:lnTo>
                    <a:pt x="16358" y="21205"/>
                  </a:lnTo>
                  <a:lnTo>
                    <a:pt x="16511" y="21301"/>
                  </a:lnTo>
                  <a:lnTo>
                    <a:pt x="16683" y="21398"/>
                  </a:lnTo>
                  <a:lnTo>
                    <a:pt x="16970" y="21455"/>
                  </a:lnTo>
                  <a:lnTo>
                    <a:pt x="17219" y="21494"/>
                  </a:lnTo>
                  <a:lnTo>
                    <a:pt x="17487" y="21533"/>
                  </a:lnTo>
                  <a:lnTo>
                    <a:pt x="17735" y="21561"/>
                  </a:lnTo>
                  <a:lnTo>
                    <a:pt x="17946" y="21571"/>
                  </a:lnTo>
                  <a:lnTo>
                    <a:pt x="18175" y="21600"/>
                  </a:lnTo>
                  <a:lnTo>
                    <a:pt x="18386" y="21600"/>
                  </a:lnTo>
                  <a:lnTo>
                    <a:pt x="18577" y="21600"/>
                  </a:lnTo>
                  <a:lnTo>
                    <a:pt x="18807" y="21581"/>
                  </a:lnTo>
                  <a:lnTo>
                    <a:pt x="18998" y="21561"/>
                  </a:lnTo>
                  <a:lnTo>
                    <a:pt x="19228" y="21533"/>
                  </a:lnTo>
                  <a:lnTo>
                    <a:pt x="19438" y="21484"/>
                  </a:lnTo>
                  <a:lnTo>
                    <a:pt x="19668" y="21436"/>
                  </a:lnTo>
                  <a:lnTo>
                    <a:pt x="19916" y="21378"/>
                  </a:lnTo>
                  <a:lnTo>
                    <a:pt x="20127" y="21311"/>
                  </a:lnTo>
                  <a:lnTo>
                    <a:pt x="20395" y="21215"/>
                  </a:lnTo>
                  <a:lnTo>
                    <a:pt x="20567" y="21041"/>
                  </a:lnTo>
                  <a:lnTo>
                    <a:pt x="20720" y="20849"/>
                  </a:lnTo>
                  <a:lnTo>
                    <a:pt x="20835" y="20675"/>
                  </a:lnTo>
                  <a:lnTo>
                    <a:pt x="20892" y="20502"/>
                  </a:lnTo>
                  <a:lnTo>
                    <a:pt x="20950" y="20309"/>
                  </a:lnTo>
                  <a:lnTo>
                    <a:pt x="20969" y="20116"/>
                  </a:lnTo>
                  <a:lnTo>
                    <a:pt x="20950" y="19933"/>
                  </a:lnTo>
                  <a:lnTo>
                    <a:pt x="20892" y="19731"/>
                  </a:lnTo>
                  <a:lnTo>
                    <a:pt x="20605" y="19567"/>
                  </a:lnTo>
                  <a:lnTo>
                    <a:pt x="20318" y="19413"/>
                  </a:lnTo>
                  <a:lnTo>
                    <a:pt x="20069" y="19288"/>
                  </a:lnTo>
                  <a:lnTo>
                    <a:pt x="19782" y="19172"/>
                  </a:lnTo>
                  <a:lnTo>
                    <a:pt x="19495" y="19076"/>
                  </a:lnTo>
                  <a:lnTo>
                    <a:pt x="19228" y="19008"/>
                  </a:lnTo>
                  <a:lnTo>
                    <a:pt x="18941" y="18960"/>
                  </a:lnTo>
                  <a:lnTo>
                    <a:pt x="18654" y="18931"/>
                  </a:lnTo>
                  <a:lnTo>
                    <a:pt x="18367" y="18922"/>
                  </a:lnTo>
                  <a:lnTo>
                    <a:pt x="18061" y="18931"/>
                  </a:lnTo>
                  <a:lnTo>
                    <a:pt x="17774" y="18960"/>
                  </a:lnTo>
                  <a:lnTo>
                    <a:pt x="17448" y="19018"/>
                  </a:lnTo>
                  <a:lnTo>
                    <a:pt x="17123" y="19095"/>
                  </a:lnTo>
                  <a:lnTo>
                    <a:pt x="16779" y="19201"/>
                  </a:lnTo>
                  <a:lnTo>
                    <a:pt x="16454" y="19317"/>
                  </a:lnTo>
                  <a:lnTo>
                    <a:pt x="16071" y="19461"/>
                  </a:lnTo>
                  <a:lnTo>
                    <a:pt x="15803" y="19760"/>
                  </a:lnTo>
                  <a:lnTo>
                    <a:pt x="15612" y="20376"/>
                  </a:lnTo>
                  <a:lnTo>
                    <a:pt x="14445" y="20367"/>
                  </a:lnTo>
                  <a:lnTo>
                    <a:pt x="14426" y="20174"/>
                  </a:lnTo>
                  <a:lnTo>
                    <a:pt x="13565" y="20193"/>
                  </a:lnTo>
                  <a:lnTo>
                    <a:pt x="12685" y="20222"/>
                  </a:lnTo>
                  <a:lnTo>
                    <a:pt x="11785" y="20222"/>
                  </a:lnTo>
                  <a:lnTo>
                    <a:pt x="10848" y="20222"/>
                  </a:lnTo>
                  <a:lnTo>
                    <a:pt x="9949" y="20193"/>
                  </a:lnTo>
                  <a:lnTo>
                    <a:pt x="9030" y="20164"/>
                  </a:lnTo>
                  <a:lnTo>
                    <a:pt x="8150" y="20107"/>
                  </a:lnTo>
                  <a:lnTo>
                    <a:pt x="7270" y="20030"/>
                  </a:lnTo>
                  <a:lnTo>
                    <a:pt x="6428" y="19943"/>
                  </a:lnTo>
                  <a:lnTo>
                    <a:pt x="5606" y="19818"/>
                  </a:lnTo>
                  <a:lnTo>
                    <a:pt x="4860" y="19673"/>
                  </a:lnTo>
                  <a:lnTo>
                    <a:pt x="4152" y="19500"/>
                  </a:lnTo>
                  <a:lnTo>
                    <a:pt x="3501" y="19297"/>
                  </a:lnTo>
                  <a:lnTo>
                    <a:pt x="2927" y="19066"/>
                  </a:lnTo>
                  <a:lnTo>
                    <a:pt x="2430" y="18796"/>
                  </a:lnTo>
                  <a:lnTo>
                    <a:pt x="2028" y="18498"/>
                  </a:lnTo>
                  <a:lnTo>
                    <a:pt x="1818" y="18295"/>
                  </a:lnTo>
                  <a:lnTo>
                    <a:pt x="1645" y="18074"/>
                  </a:lnTo>
                  <a:lnTo>
                    <a:pt x="1511" y="17843"/>
                  </a:lnTo>
                  <a:lnTo>
                    <a:pt x="1416" y="17602"/>
                  </a:lnTo>
                  <a:lnTo>
                    <a:pt x="1378" y="17332"/>
                  </a:lnTo>
                  <a:lnTo>
                    <a:pt x="1378" y="17053"/>
                  </a:lnTo>
                  <a:lnTo>
                    <a:pt x="1416" y="16754"/>
                  </a:lnTo>
                  <a:lnTo>
                    <a:pt x="1511" y="16446"/>
                  </a:lnTo>
                  <a:lnTo>
                    <a:pt x="2047" y="15916"/>
                  </a:lnTo>
                  <a:lnTo>
                    <a:pt x="2621" y="15424"/>
                  </a:lnTo>
                  <a:lnTo>
                    <a:pt x="3195" y="14972"/>
                  </a:lnTo>
                  <a:lnTo>
                    <a:pt x="3807" y="14557"/>
                  </a:lnTo>
                  <a:lnTo>
                    <a:pt x="4439" y="14191"/>
                  </a:lnTo>
                  <a:lnTo>
                    <a:pt x="5108" y="13844"/>
                  </a:lnTo>
                  <a:lnTo>
                    <a:pt x="5778" y="13526"/>
                  </a:lnTo>
                  <a:lnTo>
                    <a:pt x="6505" y="13209"/>
                  </a:lnTo>
                  <a:lnTo>
                    <a:pt x="7232" y="12939"/>
                  </a:lnTo>
                  <a:lnTo>
                    <a:pt x="8035" y="12659"/>
                  </a:lnTo>
                  <a:lnTo>
                    <a:pt x="8820" y="12390"/>
                  </a:lnTo>
                  <a:lnTo>
                    <a:pt x="9662" y="12120"/>
                  </a:lnTo>
                  <a:lnTo>
                    <a:pt x="10542" y="11860"/>
                  </a:lnTo>
                  <a:lnTo>
                    <a:pt x="11441" y="11580"/>
                  </a:lnTo>
                  <a:lnTo>
                    <a:pt x="12378" y="11291"/>
                  </a:lnTo>
                  <a:lnTo>
                    <a:pt x="13335" y="10993"/>
                  </a:lnTo>
                  <a:lnTo>
                    <a:pt x="13775" y="10829"/>
                  </a:lnTo>
                  <a:lnTo>
                    <a:pt x="14177" y="10665"/>
                  </a:lnTo>
                  <a:lnTo>
                    <a:pt x="14559" y="10511"/>
                  </a:lnTo>
                  <a:lnTo>
                    <a:pt x="14885" y="10347"/>
                  </a:lnTo>
                  <a:lnTo>
                    <a:pt x="15191" y="10193"/>
                  </a:lnTo>
                  <a:lnTo>
                    <a:pt x="15478" y="10010"/>
                  </a:lnTo>
                  <a:lnTo>
                    <a:pt x="15746" y="9846"/>
                  </a:lnTo>
                  <a:lnTo>
                    <a:pt x="15956" y="9663"/>
                  </a:lnTo>
                  <a:lnTo>
                    <a:pt x="16167" y="9461"/>
                  </a:lnTo>
                  <a:lnTo>
                    <a:pt x="16339" y="9259"/>
                  </a:lnTo>
                  <a:lnTo>
                    <a:pt x="16473" y="9037"/>
                  </a:lnTo>
                  <a:lnTo>
                    <a:pt x="16607" y="8796"/>
                  </a:lnTo>
                  <a:lnTo>
                    <a:pt x="16721" y="8536"/>
                  </a:lnTo>
                  <a:lnTo>
                    <a:pt x="16779" y="8257"/>
                  </a:lnTo>
                  <a:lnTo>
                    <a:pt x="16855" y="7948"/>
                  </a:lnTo>
                  <a:lnTo>
                    <a:pt x="16894" y="7630"/>
                  </a:lnTo>
                  <a:lnTo>
                    <a:pt x="17353" y="7534"/>
                  </a:lnTo>
                  <a:lnTo>
                    <a:pt x="17793" y="7447"/>
                  </a:lnTo>
                  <a:lnTo>
                    <a:pt x="18195" y="7351"/>
                  </a:lnTo>
                  <a:lnTo>
                    <a:pt x="18577" y="7264"/>
                  </a:lnTo>
                  <a:lnTo>
                    <a:pt x="18922" y="7158"/>
                  </a:lnTo>
                  <a:lnTo>
                    <a:pt x="19247" y="7052"/>
                  </a:lnTo>
                  <a:lnTo>
                    <a:pt x="19553" y="6937"/>
                  </a:lnTo>
                  <a:lnTo>
                    <a:pt x="19821" y="6821"/>
                  </a:lnTo>
                  <a:lnTo>
                    <a:pt x="20089" y="6686"/>
                  </a:lnTo>
                  <a:lnTo>
                    <a:pt x="20299" y="6542"/>
                  </a:lnTo>
                  <a:lnTo>
                    <a:pt x="20529" y="6368"/>
                  </a:lnTo>
                  <a:lnTo>
                    <a:pt x="20720" y="6195"/>
                  </a:lnTo>
                  <a:lnTo>
                    <a:pt x="20892" y="6002"/>
                  </a:lnTo>
                  <a:lnTo>
                    <a:pt x="21045" y="5800"/>
                  </a:lnTo>
                  <a:lnTo>
                    <a:pt x="21217" y="5559"/>
                  </a:lnTo>
                  <a:lnTo>
                    <a:pt x="21332" y="5308"/>
                  </a:lnTo>
                  <a:lnTo>
                    <a:pt x="21103" y="5125"/>
                  </a:lnTo>
                  <a:lnTo>
                    <a:pt x="21294" y="4605"/>
                  </a:lnTo>
                  <a:lnTo>
                    <a:pt x="21447" y="4114"/>
                  </a:lnTo>
                  <a:lnTo>
                    <a:pt x="21543" y="3642"/>
                  </a:lnTo>
                  <a:lnTo>
                    <a:pt x="21600" y="3189"/>
                  </a:lnTo>
                  <a:lnTo>
                    <a:pt x="21600" y="2717"/>
                  </a:lnTo>
                  <a:lnTo>
                    <a:pt x="21562" y="2245"/>
                  </a:lnTo>
                  <a:lnTo>
                    <a:pt x="21466" y="1744"/>
                  </a:lnTo>
                  <a:lnTo>
                    <a:pt x="21332" y="1204"/>
                  </a:lnTo>
                  <a:lnTo>
                    <a:pt x="21179" y="935"/>
                  </a:lnTo>
                  <a:lnTo>
                    <a:pt x="21026" y="694"/>
                  </a:lnTo>
                  <a:lnTo>
                    <a:pt x="20854" y="501"/>
                  </a:lnTo>
                  <a:lnTo>
                    <a:pt x="20643" y="328"/>
                  </a:lnTo>
                  <a:lnTo>
                    <a:pt x="20376" y="202"/>
                  </a:lnTo>
                  <a:lnTo>
                    <a:pt x="20069" y="96"/>
                  </a:lnTo>
                  <a:lnTo>
                    <a:pt x="19668" y="29"/>
                  </a:lnTo>
                  <a:lnTo>
                    <a:pt x="19189" y="0"/>
                  </a:lnTo>
                  <a:lnTo>
                    <a:pt x="17544" y="462"/>
                  </a:lnTo>
                  <a:lnTo>
                    <a:pt x="17525" y="462"/>
                  </a:lnTo>
                  <a:lnTo>
                    <a:pt x="17487" y="453"/>
                  </a:lnTo>
                  <a:lnTo>
                    <a:pt x="17448" y="453"/>
                  </a:lnTo>
                  <a:lnTo>
                    <a:pt x="17391" y="453"/>
                  </a:lnTo>
                  <a:close/>
                  <a:moveTo>
                    <a:pt x="17391" y="453"/>
                  </a:moveTo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 cap="flat">
                  <a:solidFill>
                    <a:schemeClr val="tx1"/>
                  </a:solidFill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</p:grpSp>
      <p:grpSp>
        <p:nvGrpSpPr>
          <p:cNvPr id="3" name="Group 2"/>
          <p:cNvGrpSpPr>
            <a:grpSpLocks/>
          </p:cNvGrpSpPr>
          <p:nvPr/>
        </p:nvGrpSpPr>
        <p:grpSpPr bwMode="gray">
          <a:xfrm>
            <a:off x="781060" y="3219450"/>
            <a:ext cx="272029" cy="266685"/>
            <a:chOff x="292829" y="5548265"/>
            <a:chExt cx="328642" cy="328660"/>
          </a:xfrm>
        </p:grpSpPr>
        <p:sp>
          <p:nvSpPr>
            <p:cNvPr id="240" name="Oval 14"/>
            <p:cNvSpPr>
              <a:spLocks/>
            </p:cNvSpPr>
            <p:nvPr>
              <p:custDataLst>
                <p:tags r:id="rId107"/>
              </p:custDataLst>
            </p:nvPr>
          </p:nvSpPr>
          <p:spPr bwMode="gray">
            <a:xfrm>
              <a:off x="292829" y="5548265"/>
              <a:ext cx="328642" cy="328660"/>
            </a:xfrm>
            <a:prstGeom prst="ellipse">
              <a:avLst/>
            </a:prstGeom>
            <a:solidFill>
              <a:srgbClr val="FFFFFF"/>
            </a:solidFill>
            <a:ln w="9525" cap="flat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  <p:pic>
          <p:nvPicPr>
            <p:cNvPr id="198" name="Picture 64"/>
            <p:cNvPicPr>
              <a:picLocks noChangeAspect="1" noChangeArrowheads="1"/>
            </p:cNvPicPr>
            <p:nvPr>
              <p:custDataLst>
                <p:tags r:id="rId108"/>
              </p:custDataLst>
            </p:nvPr>
          </p:nvPicPr>
          <p:blipFill rotWithShape="1">
            <a:blip r:embed="rId129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/>
          </p:blipFill>
          <p:spPr bwMode="gray">
            <a:xfrm>
              <a:off x="332614" y="5628494"/>
              <a:ext cx="249073" cy="168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07" name="Group 306"/>
          <p:cNvGrpSpPr>
            <a:grpSpLocks/>
          </p:cNvGrpSpPr>
          <p:nvPr/>
        </p:nvGrpSpPr>
        <p:grpSpPr bwMode="gray">
          <a:xfrm>
            <a:off x="781060" y="4448185"/>
            <a:ext cx="272029" cy="266685"/>
            <a:chOff x="8147376" y="3306038"/>
            <a:chExt cx="350056" cy="350077"/>
          </a:xfrm>
        </p:grpSpPr>
        <p:sp>
          <p:nvSpPr>
            <p:cNvPr id="308" name="Oval 15"/>
            <p:cNvSpPr>
              <a:spLocks/>
            </p:cNvSpPr>
            <p:nvPr>
              <p:custDataLst>
                <p:tags r:id="rId105"/>
              </p:custDataLst>
            </p:nvPr>
          </p:nvSpPr>
          <p:spPr bwMode="gray">
            <a:xfrm>
              <a:off x="8147376" y="3306038"/>
              <a:ext cx="350056" cy="350077"/>
            </a:xfrm>
            <a:prstGeom prst="ellipse">
              <a:avLst/>
            </a:prstGeom>
            <a:solidFill>
              <a:srgbClr val="FFFFFF"/>
            </a:solidFill>
            <a:ln w="9525" cap="flat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  <p:sp>
          <p:nvSpPr>
            <p:cNvPr id="309" name="Freeform 61"/>
            <p:cNvSpPr>
              <a:spLocks/>
            </p:cNvSpPr>
            <p:nvPr>
              <p:custDataLst>
                <p:tags r:id="rId106"/>
              </p:custDataLst>
            </p:nvPr>
          </p:nvSpPr>
          <p:spPr bwMode="gray">
            <a:xfrm>
              <a:off x="8194415" y="3359643"/>
              <a:ext cx="255979" cy="242866"/>
            </a:xfrm>
            <a:custGeom>
              <a:avLst/>
              <a:gdLst>
                <a:gd name="T0" fmla="*/ 11138 w 21600"/>
                <a:gd name="T1" fmla="*/ 12101 h 21600"/>
                <a:gd name="T2" fmla="*/ 11477 w 21600"/>
                <a:gd name="T3" fmla="*/ 12036 h 21600"/>
                <a:gd name="T4" fmla="*/ 12108 w 21600"/>
                <a:gd name="T5" fmla="*/ 11971 h 21600"/>
                <a:gd name="T6" fmla="*/ 12892 w 21600"/>
                <a:gd name="T7" fmla="*/ 11873 h 21600"/>
                <a:gd name="T8" fmla="*/ 13785 w 21600"/>
                <a:gd name="T9" fmla="*/ 11776 h 21600"/>
                <a:gd name="T10" fmla="*/ 14615 w 21600"/>
                <a:gd name="T11" fmla="*/ 11743 h 21600"/>
                <a:gd name="T12" fmla="*/ 15769 w 21600"/>
                <a:gd name="T13" fmla="*/ 11743 h 21600"/>
                <a:gd name="T14" fmla="*/ 17431 w 21600"/>
                <a:gd name="T15" fmla="*/ 11776 h 21600"/>
                <a:gd name="T16" fmla="*/ 19215 w 21600"/>
                <a:gd name="T17" fmla="*/ 11841 h 21600"/>
                <a:gd name="T18" fmla="*/ 20692 w 21600"/>
                <a:gd name="T19" fmla="*/ 11890 h 21600"/>
                <a:gd name="T20" fmla="*/ 21523 w 21600"/>
                <a:gd name="T21" fmla="*/ 11922 h 21600"/>
                <a:gd name="T22" fmla="*/ 21554 w 21600"/>
                <a:gd name="T23" fmla="*/ 11727 h 21600"/>
                <a:gd name="T24" fmla="*/ 21185 w 21600"/>
                <a:gd name="T25" fmla="*/ 10914 h 21600"/>
                <a:gd name="T26" fmla="*/ 20446 w 21600"/>
                <a:gd name="T27" fmla="*/ 10117 h 21600"/>
                <a:gd name="T28" fmla="*/ 19415 w 21600"/>
                <a:gd name="T29" fmla="*/ 9873 h 21600"/>
                <a:gd name="T30" fmla="*/ 17077 w 21600"/>
                <a:gd name="T31" fmla="*/ 9417 h 21600"/>
                <a:gd name="T32" fmla="*/ 14246 w 21600"/>
                <a:gd name="T33" fmla="*/ 8881 h 21600"/>
                <a:gd name="T34" fmla="*/ 11692 w 21600"/>
                <a:gd name="T35" fmla="*/ 8393 h 21600"/>
                <a:gd name="T36" fmla="*/ 10231 w 21600"/>
                <a:gd name="T37" fmla="*/ 8100 h 21600"/>
                <a:gd name="T38" fmla="*/ 8262 w 21600"/>
                <a:gd name="T39" fmla="*/ 1383 h 21600"/>
                <a:gd name="T40" fmla="*/ 7631 w 21600"/>
                <a:gd name="T41" fmla="*/ 520 h 21600"/>
                <a:gd name="T42" fmla="*/ 6877 w 21600"/>
                <a:gd name="T43" fmla="*/ 0 h 21600"/>
                <a:gd name="T44" fmla="*/ 6338 w 21600"/>
                <a:gd name="T45" fmla="*/ 325 h 21600"/>
                <a:gd name="T46" fmla="*/ 6046 w 21600"/>
                <a:gd name="T47" fmla="*/ 1366 h 21600"/>
                <a:gd name="T48" fmla="*/ 6062 w 21600"/>
                <a:gd name="T49" fmla="*/ 2342 h 21600"/>
                <a:gd name="T50" fmla="*/ 7508 w 21600"/>
                <a:gd name="T51" fmla="*/ 9125 h 21600"/>
                <a:gd name="T52" fmla="*/ 6092 w 21600"/>
                <a:gd name="T53" fmla="*/ 10507 h 21600"/>
                <a:gd name="T54" fmla="*/ 4092 w 21600"/>
                <a:gd name="T55" fmla="*/ 12475 h 21600"/>
                <a:gd name="T56" fmla="*/ 2077 w 21600"/>
                <a:gd name="T57" fmla="*/ 14476 h 21600"/>
                <a:gd name="T58" fmla="*/ 615 w 21600"/>
                <a:gd name="T59" fmla="*/ 15923 h 21600"/>
                <a:gd name="T60" fmla="*/ 31 w 21600"/>
                <a:gd name="T61" fmla="*/ 17062 h 21600"/>
                <a:gd name="T62" fmla="*/ 92 w 21600"/>
                <a:gd name="T63" fmla="*/ 18526 h 21600"/>
                <a:gd name="T64" fmla="*/ 477 w 21600"/>
                <a:gd name="T65" fmla="*/ 18217 h 21600"/>
                <a:gd name="T66" fmla="*/ 1431 w 21600"/>
                <a:gd name="T67" fmla="*/ 17485 h 21600"/>
                <a:gd name="T68" fmla="*/ 2708 w 21600"/>
                <a:gd name="T69" fmla="*/ 16525 h 21600"/>
                <a:gd name="T70" fmla="*/ 4046 w 21600"/>
                <a:gd name="T71" fmla="*/ 15566 h 21600"/>
                <a:gd name="T72" fmla="*/ 5138 w 21600"/>
                <a:gd name="T73" fmla="*/ 14817 h 21600"/>
                <a:gd name="T74" fmla="*/ 5923 w 21600"/>
                <a:gd name="T75" fmla="*/ 14346 h 21600"/>
                <a:gd name="T76" fmla="*/ 6769 w 21600"/>
                <a:gd name="T77" fmla="*/ 13874 h 21600"/>
                <a:gd name="T78" fmla="*/ 7631 w 21600"/>
                <a:gd name="T79" fmla="*/ 13435 h 21600"/>
                <a:gd name="T80" fmla="*/ 8369 w 21600"/>
                <a:gd name="T81" fmla="*/ 13045 h 21600"/>
                <a:gd name="T82" fmla="*/ 8831 w 21600"/>
                <a:gd name="T83" fmla="*/ 12801 h 21600"/>
                <a:gd name="T84" fmla="*/ 10138 w 21600"/>
                <a:gd name="T85" fmla="*/ 17208 h 21600"/>
                <a:gd name="T86" fmla="*/ 9692 w 21600"/>
                <a:gd name="T87" fmla="*/ 17680 h 21600"/>
                <a:gd name="T88" fmla="*/ 8877 w 21600"/>
                <a:gd name="T89" fmla="*/ 18819 h 21600"/>
                <a:gd name="T90" fmla="*/ 8446 w 21600"/>
                <a:gd name="T91" fmla="*/ 20266 h 21600"/>
                <a:gd name="T92" fmla="*/ 8631 w 21600"/>
                <a:gd name="T93" fmla="*/ 21112 h 21600"/>
                <a:gd name="T94" fmla="*/ 8908 w 21600"/>
                <a:gd name="T95" fmla="*/ 21372 h 21600"/>
                <a:gd name="T96" fmla="*/ 11862 w 21600"/>
                <a:gd name="T97" fmla="*/ 21161 h 21600"/>
                <a:gd name="T98" fmla="*/ 12031 w 21600"/>
                <a:gd name="T99" fmla="*/ 21470 h 21600"/>
                <a:gd name="T100" fmla="*/ 12354 w 21600"/>
                <a:gd name="T101" fmla="*/ 21600 h 21600"/>
                <a:gd name="T102" fmla="*/ 12769 w 21600"/>
                <a:gd name="T103" fmla="*/ 21470 h 21600"/>
                <a:gd name="T104" fmla="*/ 12985 w 21600"/>
                <a:gd name="T105" fmla="*/ 20803 h 21600"/>
                <a:gd name="T106" fmla="*/ 15569 w 21600"/>
                <a:gd name="T107" fmla="*/ 19274 h 21600"/>
                <a:gd name="T108" fmla="*/ 15554 w 21600"/>
                <a:gd name="T109" fmla="*/ 18640 h 21600"/>
                <a:gd name="T110" fmla="*/ 15262 w 21600"/>
                <a:gd name="T111" fmla="*/ 17729 h 21600"/>
                <a:gd name="T112" fmla="*/ 14369 w 21600"/>
                <a:gd name="T113" fmla="*/ 17095 h 21600"/>
                <a:gd name="T114" fmla="*/ 13031 w 21600"/>
                <a:gd name="T115" fmla="*/ 16688 h 21600"/>
                <a:gd name="T116" fmla="*/ 12308 w 21600"/>
                <a:gd name="T117" fmla="*/ 1654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600" h="21600">
                  <a:moveTo>
                    <a:pt x="12308" y="16542"/>
                  </a:moveTo>
                  <a:lnTo>
                    <a:pt x="11123" y="12101"/>
                  </a:lnTo>
                  <a:lnTo>
                    <a:pt x="11138" y="12101"/>
                  </a:lnTo>
                  <a:lnTo>
                    <a:pt x="11215" y="12085"/>
                  </a:lnTo>
                  <a:lnTo>
                    <a:pt x="11323" y="12052"/>
                  </a:lnTo>
                  <a:lnTo>
                    <a:pt x="11477" y="12036"/>
                  </a:lnTo>
                  <a:lnTo>
                    <a:pt x="11662" y="12020"/>
                  </a:lnTo>
                  <a:lnTo>
                    <a:pt x="11877" y="12004"/>
                  </a:lnTo>
                  <a:lnTo>
                    <a:pt x="12108" y="11971"/>
                  </a:lnTo>
                  <a:lnTo>
                    <a:pt x="12354" y="11922"/>
                  </a:lnTo>
                  <a:lnTo>
                    <a:pt x="12615" y="11906"/>
                  </a:lnTo>
                  <a:lnTo>
                    <a:pt x="12892" y="11873"/>
                  </a:lnTo>
                  <a:lnTo>
                    <a:pt x="13200" y="11841"/>
                  </a:lnTo>
                  <a:lnTo>
                    <a:pt x="13477" y="11808"/>
                  </a:lnTo>
                  <a:lnTo>
                    <a:pt x="13785" y="11776"/>
                  </a:lnTo>
                  <a:lnTo>
                    <a:pt x="14062" y="11760"/>
                  </a:lnTo>
                  <a:lnTo>
                    <a:pt x="14354" y="11760"/>
                  </a:lnTo>
                  <a:lnTo>
                    <a:pt x="14615" y="11743"/>
                  </a:lnTo>
                  <a:lnTo>
                    <a:pt x="14923" y="11743"/>
                  </a:lnTo>
                  <a:lnTo>
                    <a:pt x="15308" y="11743"/>
                  </a:lnTo>
                  <a:lnTo>
                    <a:pt x="15769" y="11743"/>
                  </a:lnTo>
                  <a:lnTo>
                    <a:pt x="16277" y="11760"/>
                  </a:lnTo>
                  <a:lnTo>
                    <a:pt x="16846" y="11760"/>
                  </a:lnTo>
                  <a:lnTo>
                    <a:pt x="17431" y="11776"/>
                  </a:lnTo>
                  <a:lnTo>
                    <a:pt x="18015" y="11792"/>
                  </a:lnTo>
                  <a:lnTo>
                    <a:pt x="18615" y="11808"/>
                  </a:lnTo>
                  <a:lnTo>
                    <a:pt x="19215" y="11841"/>
                  </a:lnTo>
                  <a:lnTo>
                    <a:pt x="19754" y="11857"/>
                  </a:lnTo>
                  <a:lnTo>
                    <a:pt x="20246" y="11873"/>
                  </a:lnTo>
                  <a:lnTo>
                    <a:pt x="20692" y="11890"/>
                  </a:lnTo>
                  <a:lnTo>
                    <a:pt x="21062" y="11906"/>
                  </a:lnTo>
                  <a:lnTo>
                    <a:pt x="21354" y="11906"/>
                  </a:lnTo>
                  <a:lnTo>
                    <a:pt x="21523" y="11922"/>
                  </a:lnTo>
                  <a:lnTo>
                    <a:pt x="21600" y="11922"/>
                  </a:lnTo>
                  <a:lnTo>
                    <a:pt x="21585" y="11873"/>
                  </a:lnTo>
                  <a:lnTo>
                    <a:pt x="21554" y="11727"/>
                  </a:lnTo>
                  <a:lnTo>
                    <a:pt x="21462" y="11483"/>
                  </a:lnTo>
                  <a:lnTo>
                    <a:pt x="21354" y="11223"/>
                  </a:lnTo>
                  <a:lnTo>
                    <a:pt x="21185" y="10914"/>
                  </a:lnTo>
                  <a:lnTo>
                    <a:pt x="21000" y="10621"/>
                  </a:lnTo>
                  <a:lnTo>
                    <a:pt x="20754" y="10328"/>
                  </a:lnTo>
                  <a:lnTo>
                    <a:pt x="20446" y="10117"/>
                  </a:lnTo>
                  <a:lnTo>
                    <a:pt x="20292" y="10068"/>
                  </a:lnTo>
                  <a:lnTo>
                    <a:pt x="19954" y="9987"/>
                  </a:lnTo>
                  <a:lnTo>
                    <a:pt x="19415" y="9873"/>
                  </a:lnTo>
                  <a:lnTo>
                    <a:pt x="18754" y="9743"/>
                  </a:lnTo>
                  <a:lnTo>
                    <a:pt x="17954" y="9580"/>
                  </a:lnTo>
                  <a:lnTo>
                    <a:pt x="17077" y="9417"/>
                  </a:lnTo>
                  <a:lnTo>
                    <a:pt x="16154" y="9222"/>
                  </a:lnTo>
                  <a:lnTo>
                    <a:pt x="15200" y="9043"/>
                  </a:lnTo>
                  <a:lnTo>
                    <a:pt x="14246" y="8881"/>
                  </a:lnTo>
                  <a:lnTo>
                    <a:pt x="13323" y="8686"/>
                  </a:lnTo>
                  <a:lnTo>
                    <a:pt x="12477" y="8539"/>
                  </a:lnTo>
                  <a:lnTo>
                    <a:pt x="11692" y="8393"/>
                  </a:lnTo>
                  <a:lnTo>
                    <a:pt x="11062" y="8263"/>
                  </a:lnTo>
                  <a:lnTo>
                    <a:pt x="10554" y="8165"/>
                  </a:lnTo>
                  <a:lnTo>
                    <a:pt x="10231" y="8100"/>
                  </a:lnTo>
                  <a:lnTo>
                    <a:pt x="10123" y="8084"/>
                  </a:lnTo>
                  <a:lnTo>
                    <a:pt x="8369" y="1643"/>
                  </a:lnTo>
                  <a:lnTo>
                    <a:pt x="8262" y="1383"/>
                  </a:lnTo>
                  <a:lnTo>
                    <a:pt x="8092" y="1073"/>
                  </a:lnTo>
                  <a:lnTo>
                    <a:pt x="7892" y="797"/>
                  </a:lnTo>
                  <a:lnTo>
                    <a:pt x="7631" y="520"/>
                  </a:lnTo>
                  <a:lnTo>
                    <a:pt x="7369" y="277"/>
                  </a:lnTo>
                  <a:lnTo>
                    <a:pt x="7108" y="81"/>
                  </a:lnTo>
                  <a:lnTo>
                    <a:pt x="6877" y="0"/>
                  </a:lnTo>
                  <a:lnTo>
                    <a:pt x="6662" y="0"/>
                  </a:lnTo>
                  <a:lnTo>
                    <a:pt x="6492" y="114"/>
                  </a:lnTo>
                  <a:lnTo>
                    <a:pt x="6338" y="325"/>
                  </a:lnTo>
                  <a:lnTo>
                    <a:pt x="6215" y="634"/>
                  </a:lnTo>
                  <a:lnTo>
                    <a:pt x="6108" y="992"/>
                  </a:lnTo>
                  <a:lnTo>
                    <a:pt x="6046" y="1366"/>
                  </a:lnTo>
                  <a:lnTo>
                    <a:pt x="6000" y="1724"/>
                  </a:lnTo>
                  <a:lnTo>
                    <a:pt x="6000" y="2049"/>
                  </a:lnTo>
                  <a:lnTo>
                    <a:pt x="6062" y="2342"/>
                  </a:lnTo>
                  <a:lnTo>
                    <a:pt x="7831" y="8799"/>
                  </a:lnTo>
                  <a:lnTo>
                    <a:pt x="7738" y="8881"/>
                  </a:lnTo>
                  <a:lnTo>
                    <a:pt x="7508" y="9125"/>
                  </a:lnTo>
                  <a:lnTo>
                    <a:pt x="7138" y="9466"/>
                  </a:lnTo>
                  <a:lnTo>
                    <a:pt x="6662" y="9938"/>
                  </a:lnTo>
                  <a:lnTo>
                    <a:pt x="6092" y="10507"/>
                  </a:lnTo>
                  <a:lnTo>
                    <a:pt x="5462" y="11125"/>
                  </a:lnTo>
                  <a:lnTo>
                    <a:pt x="4785" y="11776"/>
                  </a:lnTo>
                  <a:lnTo>
                    <a:pt x="4092" y="12475"/>
                  </a:lnTo>
                  <a:lnTo>
                    <a:pt x="3385" y="13158"/>
                  </a:lnTo>
                  <a:lnTo>
                    <a:pt x="2708" y="13842"/>
                  </a:lnTo>
                  <a:lnTo>
                    <a:pt x="2077" y="14476"/>
                  </a:lnTo>
                  <a:lnTo>
                    <a:pt x="1492" y="15045"/>
                  </a:lnTo>
                  <a:lnTo>
                    <a:pt x="1015" y="15533"/>
                  </a:lnTo>
                  <a:lnTo>
                    <a:pt x="615" y="15923"/>
                  </a:lnTo>
                  <a:lnTo>
                    <a:pt x="369" y="16184"/>
                  </a:lnTo>
                  <a:lnTo>
                    <a:pt x="262" y="16298"/>
                  </a:lnTo>
                  <a:lnTo>
                    <a:pt x="31" y="17062"/>
                  </a:lnTo>
                  <a:lnTo>
                    <a:pt x="0" y="17778"/>
                  </a:lnTo>
                  <a:lnTo>
                    <a:pt x="46" y="18314"/>
                  </a:lnTo>
                  <a:lnTo>
                    <a:pt x="92" y="18526"/>
                  </a:lnTo>
                  <a:lnTo>
                    <a:pt x="138" y="18493"/>
                  </a:lnTo>
                  <a:lnTo>
                    <a:pt x="262" y="18396"/>
                  </a:lnTo>
                  <a:lnTo>
                    <a:pt x="477" y="18217"/>
                  </a:lnTo>
                  <a:lnTo>
                    <a:pt x="738" y="18022"/>
                  </a:lnTo>
                  <a:lnTo>
                    <a:pt x="1062" y="17778"/>
                  </a:lnTo>
                  <a:lnTo>
                    <a:pt x="1431" y="17485"/>
                  </a:lnTo>
                  <a:lnTo>
                    <a:pt x="1846" y="17176"/>
                  </a:lnTo>
                  <a:lnTo>
                    <a:pt x="2262" y="16851"/>
                  </a:lnTo>
                  <a:lnTo>
                    <a:pt x="2708" y="16525"/>
                  </a:lnTo>
                  <a:lnTo>
                    <a:pt x="3169" y="16200"/>
                  </a:lnTo>
                  <a:lnTo>
                    <a:pt x="3615" y="15858"/>
                  </a:lnTo>
                  <a:lnTo>
                    <a:pt x="4046" y="15566"/>
                  </a:lnTo>
                  <a:lnTo>
                    <a:pt x="4446" y="15289"/>
                  </a:lnTo>
                  <a:lnTo>
                    <a:pt x="4815" y="15013"/>
                  </a:lnTo>
                  <a:lnTo>
                    <a:pt x="5138" y="14817"/>
                  </a:lnTo>
                  <a:lnTo>
                    <a:pt x="5400" y="14639"/>
                  </a:lnTo>
                  <a:lnTo>
                    <a:pt x="5646" y="14492"/>
                  </a:lnTo>
                  <a:lnTo>
                    <a:pt x="5923" y="14346"/>
                  </a:lnTo>
                  <a:lnTo>
                    <a:pt x="6185" y="14199"/>
                  </a:lnTo>
                  <a:lnTo>
                    <a:pt x="6492" y="14053"/>
                  </a:lnTo>
                  <a:lnTo>
                    <a:pt x="6769" y="13874"/>
                  </a:lnTo>
                  <a:lnTo>
                    <a:pt x="7077" y="13728"/>
                  </a:lnTo>
                  <a:lnTo>
                    <a:pt x="7354" y="13581"/>
                  </a:lnTo>
                  <a:lnTo>
                    <a:pt x="7631" y="13435"/>
                  </a:lnTo>
                  <a:lnTo>
                    <a:pt x="7908" y="13272"/>
                  </a:lnTo>
                  <a:lnTo>
                    <a:pt x="8138" y="13158"/>
                  </a:lnTo>
                  <a:lnTo>
                    <a:pt x="8369" y="13045"/>
                  </a:lnTo>
                  <a:lnTo>
                    <a:pt x="8554" y="12947"/>
                  </a:lnTo>
                  <a:lnTo>
                    <a:pt x="8723" y="12866"/>
                  </a:lnTo>
                  <a:lnTo>
                    <a:pt x="8831" y="12801"/>
                  </a:lnTo>
                  <a:lnTo>
                    <a:pt x="8908" y="12768"/>
                  </a:lnTo>
                  <a:lnTo>
                    <a:pt x="8923" y="12752"/>
                  </a:lnTo>
                  <a:lnTo>
                    <a:pt x="10138" y="17208"/>
                  </a:lnTo>
                  <a:lnTo>
                    <a:pt x="10077" y="17273"/>
                  </a:lnTo>
                  <a:lnTo>
                    <a:pt x="9923" y="17420"/>
                  </a:lnTo>
                  <a:lnTo>
                    <a:pt x="9692" y="17680"/>
                  </a:lnTo>
                  <a:lnTo>
                    <a:pt x="9431" y="18005"/>
                  </a:lnTo>
                  <a:lnTo>
                    <a:pt x="9138" y="18396"/>
                  </a:lnTo>
                  <a:lnTo>
                    <a:pt x="8877" y="18819"/>
                  </a:lnTo>
                  <a:lnTo>
                    <a:pt x="8646" y="19290"/>
                  </a:lnTo>
                  <a:lnTo>
                    <a:pt x="8508" y="19795"/>
                  </a:lnTo>
                  <a:lnTo>
                    <a:pt x="8446" y="20266"/>
                  </a:lnTo>
                  <a:lnTo>
                    <a:pt x="8477" y="20624"/>
                  </a:lnTo>
                  <a:lnTo>
                    <a:pt x="8523" y="20901"/>
                  </a:lnTo>
                  <a:lnTo>
                    <a:pt x="8631" y="21112"/>
                  </a:lnTo>
                  <a:lnTo>
                    <a:pt x="8738" y="21242"/>
                  </a:lnTo>
                  <a:lnTo>
                    <a:pt x="8846" y="21340"/>
                  </a:lnTo>
                  <a:lnTo>
                    <a:pt x="8908" y="21372"/>
                  </a:lnTo>
                  <a:lnTo>
                    <a:pt x="8954" y="21389"/>
                  </a:lnTo>
                  <a:lnTo>
                    <a:pt x="11400" y="19518"/>
                  </a:lnTo>
                  <a:lnTo>
                    <a:pt x="11862" y="21161"/>
                  </a:lnTo>
                  <a:lnTo>
                    <a:pt x="11892" y="21275"/>
                  </a:lnTo>
                  <a:lnTo>
                    <a:pt x="11954" y="21372"/>
                  </a:lnTo>
                  <a:lnTo>
                    <a:pt x="12031" y="21470"/>
                  </a:lnTo>
                  <a:lnTo>
                    <a:pt x="12138" y="21535"/>
                  </a:lnTo>
                  <a:lnTo>
                    <a:pt x="12231" y="21584"/>
                  </a:lnTo>
                  <a:lnTo>
                    <a:pt x="12354" y="21600"/>
                  </a:lnTo>
                  <a:lnTo>
                    <a:pt x="12462" y="21600"/>
                  </a:lnTo>
                  <a:lnTo>
                    <a:pt x="12585" y="21584"/>
                  </a:lnTo>
                  <a:lnTo>
                    <a:pt x="12769" y="21470"/>
                  </a:lnTo>
                  <a:lnTo>
                    <a:pt x="12938" y="21275"/>
                  </a:lnTo>
                  <a:lnTo>
                    <a:pt x="13000" y="21047"/>
                  </a:lnTo>
                  <a:lnTo>
                    <a:pt x="12985" y="20803"/>
                  </a:lnTo>
                  <a:lnTo>
                    <a:pt x="12523" y="19160"/>
                  </a:lnTo>
                  <a:lnTo>
                    <a:pt x="15569" y="19323"/>
                  </a:lnTo>
                  <a:lnTo>
                    <a:pt x="15569" y="19274"/>
                  </a:lnTo>
                  <a:lnTo>
                    <a:pt x="15569" y="19128"/>
                  </a:lnTo>
                  <a:lnTo>
                    <a:pt x="15569" y="18900"/>
                  </a:lnTo>
                  <a:lnTo>
                    <a:pt x="15554" y="18640"/>
                  </a:lnTo>
                  <a:lnTo>
                    <a:pt x="15508" y="18331"/>
                  </a:lnTo>
                  <a:lnTo>
                    <a:pt x="15400" y="18038"/>
                  </a:lnTo>
                  <a:lnTo>
                    <a:pt x="15262" y="17729"/>
                  </a:lnTo>
                  <a:lnTo>
                    <a:pt x="15062" y="17485"/>
                  </a:lnTo>
                  <a:lnTo>
                    <a:pt x="14754" y="17290"/>
                  </a:lnTo>
                  <a:lnTo>
                    <a:pt x="14369" y="17095"/>
                  </a:lnTo>
                  <a:lnTo>
                    <a:pt x="13908" y="16932"/>
                  </a:lnTo>
                  <a:lnTo>
                    <a:pt x="13446" y="16802"/>
                  </a:lnTo>
                  <a:lnTo>
                    <a:pt x="13031" y="16688"/>
                  </a:lnTo>
                  <a:lnTo>
                    <a:pt x="12646" y="16607"/>
                  </a:lnTo>
                  <a:lnTo>
                    <a:pt x="12400" y="16558"/>
                  </a:lnTo>
                  <a:lnTo>
                    <a:pt x="12308" y="16542"/>
                  </a:lnTo>
                  <a:close/>
                  <a:moveTo>
                    <a:pt x="12308" y="16542"/>
                  </a:moveTo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</p:grpSp>
      <p:grpSp>
        <p:nvGrpSpPr>
          <p:cNvPr id="310" name="Group 309"/>
          <p:cNvGrpSpPr>
            <a:grpSpLocks/>
          </p:cNvGrpSpPr>
          <p:nvPr/>
        </p:nvGrpSpPr>
        <p:grpSpPr bwMode="gray">
          <a:xfrm>
            <a:off x="781060" y="4038610"/>
            <a:ext cx="272029" cy="266685"/>
            <a:chOff x="8147376" y="3731600"/>
            <a:chExt cx="350056" cy="350077"/>
          </a:xfrm>
        </p:grpSpPr>
        <p:sp>
          <p:nvSpPr>
            <p:cNvPr id="311" name="Oval 16"/>
            <p:cNvSpPr>
              <a:spLocks/>
            </p:cNvSpPr>
            <p:nvPr>
              <p:custDataLst>
                <p:tags r:id="rId103"/>
              </p:custDataLst>
            </p:nvPr>
          </p:nvSpPr>
          <p:spPr bwMode="gray">
            <a:xfrm>
              <a:off x="8147376" y="3731600"/>
              <a:ext cx="350056" cy="350077"/>
            </a:xfrm>
            <a:prstGeom prst="ellipse">
              <a:avLst/>
            </a:prstGeom>
            <a:solidFill>
              <a:srgbClr val="FFFFFF"/>
            </a:solidFill>
            <a:ln w="9525" cap="flat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0" tIns="0" rIns="0" bIns="0">
              <a:noAutofit/>
            </a:bodyPr>
            <a:lstStyle/>
            <a:p>
              <a:endParaRPr lang="en-US" sz="1400"/>
            </a:p>
          </p:txBody>
        </p:sp>
        <p:grpSp>
          <p:nvGrpSpPr>
            <p:cNvPr id="312" name="Group 74"/>
            <p:cNvGrpSpPr>
              <a:grpSpLocks/>
            </p:cNvGrpSpPr>
            <p:nvPr>
              <p:custDataLst>
                <p:tags r:id="rId104"/>
              </p:custDataLst>
            </p:nvPr>
          </p:nvGrpSpPr>
          <p:grpSpPr bwMode="gray">
            <a:xfrm>
              <a:off x="8209730" y="3791770"/>
              <a:ext cx="252697" cy="246148"/>
              <a:chOff x="0" y="0"/>
              <a:chExt cx="230" cy="224"/>
            </a:xfrm>
          </p:grpSpPr>
          <p:sp>
            <p:nvSpPr>
              <p:cNvPr id="313" name="Freeform 66"/>
              <p:cNvSpPr>
                <a:spLocks/>
              </p:cNvSpPr>
              <p:nvPr/>
            </p:nvSpPr>
            <p:spPr bwMode="gray">
              <a:xfrm>
                <a:off x="87" y="6"/>
                <a:ext cx="90" cy="135"/>
              </a:xfrm>
              <a:custGeom>
                <a:avLst/>
                <a:gdLst>
                  <a:gd name="T0" fmla="*/ 1296 w 21600"/>
                  <a:gd name="T1" fmla="*/ 0 h 21600"/>
                  <a:gd name="T2" fmla="*/ 1173 w 21600"/>
                  <a:gd name="T3" fmla="*/ 652 h 21600"/>
                  <a:gd name="T4" fmla="*/ 5307 w 21600"/>
                  <a:gd name="T5" fmla="*/ 2282 h 21600"/>
                  <a:gd name="T6" fmla="*/ 9689 w 21600"/>
                  <a:gd name="T7" fmla="*/ 5298 h 21600"/>
                  <a:gd name="T8" fmla="*/ 11726 w 21600"/>
                  <a:gd name="T9" fmla="*/ 9088 h 21600"/>
                  <a:gd name="T10" fmla="*/ 11726 w 21600"/>
                  <a:gd name="T11" fmla="*/ 12389 h 21600"/>
                  <a:gd name="T12" fmla="*/ 10491 w 21600"/>
                  <a:gd name="T13" fmla="*/ 14712 h 21600"/>
                  <a:gd name="T14" fmla="*/ 9195 w 21600"/>
                  <a:gd name="T15" fmla="*/ 16465 h 21600"/>
                  <a:gd name="T16" fmla="*/ 6912 w 21600"/>
                  <a:gd name="T17" fmla="*/ 18217 h 21600"/>
                  <a:gd name="T18" fmla="*/ 4073 w 21600"/>
                  <a:gd name="T19" fmla="*/ 19970 h 21600"/>
                  <a:gd name="T20" fmla="*/ 0 w 21600"/>
                  <a:gd name="T21" fmla="*/ 21600 h 21600"/>
                  <a:gd name="T22" fmla="*/ 2962 w 21600"/>
                  <a:gd name="T23" fmla="*/ 21274 h 21600"/>
                  <a:gd name="T24" fmla="*/ 13207 w 21600"/>
                  <a:gd name="T25" fmla="*/ 18543 h 21600"/>
                  <a:gd name="T26" fmla="*/ 18021 w 21600"/>
                  <a:gd name="T27" fmla="*/ 16098 h 21600"/>
                  <a:gd name="T28" fmla="*/ 19502 w 21600"/>
                  <a:gd name="T29" fmla="*/ 14875 h 21600"/>
                  <a:gd name="T30" fmla="*/ 21600 w 21600"/>
                  <a:gd name="T31" fmla="*/ 12063 h 21600"/>
                  <a:gd name="T32" fmla="*/ 21477 w 21600"/>
                  <a:gd name="T33" fmla="*/ 9088 h 21600"/>
                  <a:gd name="T34" fmla="*/ 20613 w 21600"/>
                  <a:gd name="T35" fmla="*/ 7825 h 21600"/>
                  <a:gd name="T36" fmla="*/ 16848 w 21600"/>
                  <a:gd name="T37" fmla="*/ 4768 h 21600"/>
                  <a:gd name="T38" fmla="*/ 13083 w 21600"/>
                  <a:gd name="T39" fmla="*/ 3464 h 21600"/>
                  <a:gd name="T40" fmla="*/ 10738 w 21600"/>
                  <a:gd name="T41" fmla="*/ 2486 h 21600"/>
                  <a:gd name="T42" fmla="*/ 7406 w 21600"/>
                  <a:gd name="T43" fmla="*/ 1508 h 21600"/>
                  <a:gd name="T44" fmla="*/ 3950 w 21600"/>
                  <a:gd name="T45" fmla="*/ 734 h 21600"/>
                  <a:gd name="T46" fmla="*/ 1296 w 21600"/>
                  <a:gd name="T47" fmla="*/ 0 h 21600"/>
                  <a:gd name="T48" fmla="*/ 1296 w 21600"/>
                  <a:gd name="T49" fmla="*/ 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600" h="21600">
                    <a:moveTo>
                      <a:pt x="1296" y="0"/>
                    </a:moveTo>
                    <a:lnTo>
                      <a:pt x="1173" y="652"/>
                    </a:lnTo>
                    <a:lnTo>
                      <a:pt x="5307" y="2282"/>
                    </a:lnTo>
                    <a:lnTo>
                      <a:pt x="9689" y="5298"/>
                    </a:lnTo>
                    <a:lnTo>
                      <a:pt x="11726" y="9088"/>
                    </a:lnTo>
                    <a:lnTo>
                      <a:pt x="11726" y="12389"/>
                    </a:lnTo>
                    <a:lnTo>
                      <a:pt x="10491" y="14712"/>
                    </a:lnTo>
                    <a:lnTo>
                      <a:pt x="9195" y="16465"/>
                    </a:lnTo>
                    <a:lnTo>
                      <a:pt x="6912" y="18217"/>
                    </a:lnTo>
                    <a:lnTo>
                      <a:pt x="4073" y="19970"/>
                    </a:lnTo>
                    <a:lnTo>
                      <a:pt x="0" y="21600"/>
                    </a:lnTo>
                    <a:lnTo>
                      <a:pt x="2962" y="21274"/>
                    </a:lnTo>
                    <a:lnTo>
                      <a:pt x="13207" y="18543"/>
                    </a:lnTo>
                    <a:lnTo>
                      <a:pt x="18021" y="16098"/>
                    </a:lnTo>
                    <a:lnTo>
                      <a:pt x="19502" y="14875"/>
                    </a:lnTo>
                    <a:lnTo>
                      <a:pt x="21600" y="12063"/>
                    </a:lnTo>
                    <a:lnTo>
                      <a:pt x="21477" y="9088"/>
                    </a:lnTo>
                    <a:lnTo>
                      <a:pt x="20613" y="7825"/>
                    </a:lnTo>
                    <a:lnTo>
                      <a:pt x="16848" y="4768"/>
                    </a:lnTo>
                    <a:lnTo>
                      <a:pt x="13083" y="3464"/>
                    </a:lnTo>
                    <a:lnTo>
                      <a:pt x="10738" y="2486"/>
                    </a:lnTo>
                    <a:lnTo>
                      <a:pt x="7406" y="1508"/>
                    </a:lnTo>
                    <a:lnTo>
                      <a:pt x="3950" y="734"/>
                    </a:lnTo>
                    <a:lnTo>
                      <a:pt x="1296" y="0"/>
                    </a:lnTo>
                    <a:close/>
                    <a:moveTo>
                      <a:pt x="1296" y="0"/>
                    </a:move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314" name="Freeform 67"/>
              <p:cNvSpPr>
                <a:spLocks/>
              </p:cNvSpPr>
              <p:nvPr/>
            </p:nvSpPr>
            <p:spPr bwMode="gray">
              <a:xfrm>
                <a:off x="51" y="0"/>
                <a:ext cx="89" cy="149"/>
              </a:xfrm>
              <a:custGeom>
                <a:avLst/>
                <a:gdLst>
                  <a:gd name="T0" fmla="*/ 16620 w 21600"/>
                  <a:gd name="T1" fmla="*/ 3761 h 21600"/>
                  <a:gd name="T2" fmla="*/ 15811 w 21600"/>
                  <a:gd name="T3" fmla="*/ 3352 h 21600"/>
                  <a:gd name="T4" fmla="*/ 15064 w 21600"/>
                  <a:gd name="T5" fmla="*/ 2905 h 21600"/>
                  <a:gd name="T6" fmla="*/ 14193 w 21600"/>
                  <a:gd name="T7" fmla="*/ 2532 h 21600"/>
                  <a:gd name="T8" fmla="*/ 13321 w 21600"/>
                  <a:gd name="T9" fmla="*/ 2160 h 21600"/>
                  <a:gd name="T10" fmla="*/ 12387 w 21600"/>
                  <a:gd name="T11" fmla="*/ 1825 h 21600"/>
                  <a:gd name="T12" fmla="*/ 11454 w 21600"/>
                  <a:gd name="T13" fmla="*/ 1527 h 21600"/>
                  <a:gd name="T14" fmla="*/ 10458 w 21600"/>
                  <a:gd name="T15" fmla="*/ 1229 h 21600"/>
                  <a:gd name="T16" fmla="*/ 9462 w 21600"/>
                  <a:gd name="T17" fmla="*/ 968 h 21600"/>
                  <a:gd name="T18" fmla="*/ 8466 w 21600"/>
                  <a:gd name="T19" fmla="*/ 745 h 21600"/>
                  <a:gd name="T20" fmla="*/ 7345 w 21600"/>
                  <a:gd name="T21" fmla="*/ 559 h 21600"/>
                  <a:gd name="T22" fmla="*/ 6287 w 21600"/>
                  <a:gd name="T23" fmla="*/ 372 h 21600"/>
                  <a:gd name="T24" fmla="*/ 5229 w 21600"/>
                  <a:gd name="T25" fmla="*/ 261 h 21600"/>
                  <a:gd name="T26" fmla="*/ 4108 w 21600"/>
                  <a:gd name="T27" fmla="*/ 112 h 21600"/>
                  <a:gd name="T28" fmla="*/ 2988 w 21600"/>
                  <a:gd name="T29" fmla="*/ 37 h 21600"/>
                  <a:gd name="T30" fmla="*/ 1867 w 21600"/>
                  <a:gd name="T31" fmla="*/ 0 h 21600"/>
                  <a:gd name="T32" fmla="*/ 685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410 h 21600"/>
                  <a:gd name="T38" fmla="*/ 0 w 21600"/>
                  <a:gd name="T39" fmla="*/ 21190 h 21600"/>
                  <a:gd name="T40" fmla="*/ 0 w 21600"/>
                  <a:gd name="T41" fmla="*/ 21600 h 21600"/>
                  <a:gd name="T42" fmla="*/ 685 w 21600"/>
                  <a:gd name="T43" fmla="*/ 21600 h 21600"/>
                  <a:gd name="T44" fmla="*/ 1867 w 21600"/>
                  <a:gd name="T45" fmla="*/ 21600 h 21600"/>
                  <a:gd name="T46" fmla="*/ 2988 w 21600"/>
                  <a:gd name="T47" fmla="*/ 21563 h 21600"/>
                  <a:gd name="T48" fmla="*/ 4108 w 21600"/>
                  <a:gd name="T49" fmla="*/ 21488 h 21600"/>
                  <a:gd name="T50" fmla="*/ 5229 w 21600"/>
                  <a:gd name="T51" fmla="*/ 21377 h 21600"/>
                  <a:gd name="T52" fmla="*/ 6287 w 21600"/>
                  <a:gd name="T53" fmla="*/ 21228 h 21600"/>
                  <a:gd name="T54" fmla="*/ 7345 w 21600"/>
                  <a:gd name="T55" fmla="*/ 21041 h 21600"/>
                  <a:gd name="T56" fmla="*/ 8466 w 21600"/>
                  <a:gd name="T57" fmla="*/ 20855 h 21600"/>
                  <a:gd name="T58" fmla="*/ 9462 w 21600"/>
                  <a:gd name="T59" fmla="*/ 20632 h 21600"/>
                  <a:gd name="T60" fmla="*/ 10458 w 21600"/>
                  <a:gd name="T61" fmla="*/ 20371 h 21600"/>
                  <a:gd name="T62" fmla="*/ 11454 w 21600"/>
                  <a:gd name="T63" fmla="*/ 20110 h 21600"/>
                  <a:gd name="T64" fmla="*/ 12387 w 21600"/>
                  <a:gd name="T65" fmla="*/ 19812 h 21600"/>
                  <a:gd name="T66" fmla="*/ 13321 w 21600"/>
                  <a:gd name="T67" fmla="*/ 19477 h 21600"/>
                  <a:gd name="T68" fmla="*/ 14193 w 21600"/>
                  <a:gd name="T69" fmla="*/ 19068 h 21600"/>
                  <a:gd name="T70" fmla="*/ 15064 w 21600"/>
                  <a:gd name="T71" fmla="*/ 18732 h 21600"/>
                  <a:gd name="T72" fmla="*/ 15811 w 21600"/>
                  <a:gd name="T73" fmla="*/ 18323 h 21600"/>
                  <a:gd name="T74" fmla="*/ 16620 w 21600"/>
                  <a:gd name="T75" fmla="*/ 17876 h 21600"/>
                  <a:gd name="T76" fmla="*/ 17741 w 21600"/>
                  <a:gd name="T77" fmla="*/ 17094 h 21600"/>
                  <a:gd name="T78" fmla="*/ 18737 w 21600"/>
                  <a:gd name="T79" fmla="*/ 16312 h 21600"/>
                  <a:gd name="T80" fmla="*/ 19546 w 21600"/>
                  <a:gd name="T81" fmla="*/ 15492 h 21600"/>
                  <a:gd name="T82" fmla="*/ 20355 w 21600"/>
                  <a:gd name="T83" fmla="*/ 14561 h 21600"/>
                  <a:gd name="T84" fmla="*/ 20853 w 21600"/>
                  <a:gd name="T85" fmla="*/ 13668 h 21600"/>
                  <a:gd name="T86" fmla="*/ 21289 w 21600"/>
                  <a:gd name="T87" fmla="*/ 12737 h 21600"/>
                  <a:gd name="T88" fmla="*/ 21538 w 21600"/>
                  <a:gd name="T89" fmla="*/ 11806 h 21600"/>
                  <a:gd name="T90" fmla="*/ 21600 w 21600"/>
                  <a:gd name="T91" fmla="*/ 10837 h 21600"/>
                  <a:gd name="T92" fmla="*/ 21538 w 21600"/>
                  <a:gd name="T93" fmla="*/ 9869 h 21600"/>
                  <a:gd name="T94" fmla="*/ 21289 w 21600"/>
                  <a:gd name="T95" fmla="*/ 8901 h 21600"/>
                  <a:gd name="T96" fmla="*/ 20853 w 21600"/>
                  <a:gd name="T97" fmla="*/ 7970 h 21600"/>
                  <a:gd name="T98" fmla="*/ 20355 w 21600"/>
                  <a:gd name="T99" fmla="*/ 7039 h 21600"/>
                  <a:gd name="T100" fmla="*/ 19546 w 21600"/>
                  <a:gd name="T101" fmla="*/ 6182 h 21600"/>
                  <a:gd name="T102" fmla="*/ 18737 w 21600"/>
                  <a:gd name="T103" fmla="*/ 5326 h 21600"/>
                  <a:gd name="T104" fmla="*/ 17741 w 21600"/>
                  <a:gd name="T105" fmla="*/ 4543 h 21600"/>
                  <a:gd name="T106" fmla="*/ 16620 w 21600"/>
                  <a:gd name="T107" fmla="*/ 3761 h 21600"/>
                  <a:gd name="T108" fmla="*/ 16620 w 21600"/>
                  <a:gd name="T109" fmla="*/ 3761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1600" h="21600">
                    <a:moveTo>
                      <a:pt x="16620" y="3761"/>
                    </a:moveTo>
                    <a:lnTo>
                      <a:pt x="15811" y="3352"/>
                    </a:lnTo>
                    <a:lnTo>
                      <a:pt x="15064" y="2905"/>
                    </a:lnTo>
                    <a:lnTo>
                      <a:pt x="14193" y="2532"/>
                    </a:lnTo>
                    <a:lnTo>
                      <a:pt x="13321" y="2160"/>
                    </a:lnTo>
                    <a:lnTo>
                      <a:pt x="12387" y="1825"/>
                    </a:lnTo>
                    <a:lnTo>
                      <a:pt x="11454" y="1527"/>
                    </a:lnTo>
                    <a:lnTo>
                      <a:pt x="10458" y="1229"/>
                    </a:lnTo>
                    <a:lnTo>
                      <a:pt x="9462" y="968"/>
                    </a:lnTo>
                    <a:lnTo>
                      <a:pt x="8466" y="745"/>
                    </a:lnTo>
                    <a:lnTo>
                      <a:pt x="7345" y="559"/>
                    </a:lnTo>
                    <a:lnTo>
                      <a:pt x="6287" y="372"/>
                    </a:lnTo>
                    <a:lnTo>
                      <a:pt x="5229" y="261"/>
                    </a:lnTo>
                    <a:lnTo>
                      <a:pt x="4108" y="112"/>
                    </a:lnTo>
                    <a:lnTo>
                      <a:pt x="2988" y="37"/>
                    </a:lnTo>
                    <a:lnTo>
                      <a:pt x="1867" y="0"/>
                    </a:lnTo>
                    <a:lnTo>
                      <a:pt x="685" y="0"/>
                    </a:lnTo>
                    <a:lnTo>
                      <a:pt x="0" y="0"/>
                    </a:lnTo>
                    <a:lnTo>
                      <a:pt x="0" y="410"/>
                    </a:lnTo>
                    <a:lnTo>
                      <a:pt x="0" y="21190"/>
                    </a:lnTo>
                    <a:lnTo>
                      <a:pt x="0" y="21600"/>
                    </a:lnTo>
                    <a:lnTo>
                      <a:pt x="685" y="21600"/>
                    </a:lnTo>
                    <a:lnTo>
                      <a:pt x="1867" y="21600"/>
                    </a:lnTo>
                    <a:lnTo>
                      <a:pt x="2988" y="21563"/>
                    </a:lnTo>
                    <a:lnTo>
                      <a:pt x="4108" y="21488"/>
                    </a:lnTo>
                    <a:lnTo>
                      <a:pt x="5229" y="21377"/>
                    </a:lnTo>
                    <a:lnTo>
                      <a:pt x="6287" y="21228"/>
                    </a:lnTo>
                    <a:lnTo>
                      <a:pt x="7345" y="21041"/>
                    </a:lnTo>
                    <a:lnTo>
                      <a:pt x="8466" y="20855"/>
                    </a:lnTo>
                    <a:lnTo>
                      <a:pt x="9462" y="20632"/>
                    </a:lnTo>
                    <a:lnTo>
                      <a:pt x="10458" y="20371"/>
                    </a:lnTo>
                    <a:lnTo>
                      <a:pt x="11454" y="20110"/>
                    </a:lnTo>
                    <a:lnTo>
                      <a:pt x="12387" y="19812"/>
                    </a:lnTo>
                    <a:lnTo>
                      <a:pt x="13321" y="19477"/>
                    </a:lnTo>
                    <a:lnTo>
                      <a:pt x="14193" y="19068"/>
                    </a:lnTo>
                    <a:lnTo>
                      <a:pt x="15064" y="18732"/>
                    </a:lnTo>
                    <a:lnTo>
                      <a:pt x="15811" y="18323"/>
                    </a:lnTo>
                    <a:lnTo>
                      <a:pt x="16620" y="17876"/>
                    </a:lnTo>
                    <a:lnTo>
                      <a:pt x="17741" y="17094"/>
                    </a:lnTo>
                    <a:lnTo>
                      <a:pt x="18737" y="16312"/>
                    </a:lnTo>
                    <a:lnTo>
                      <a:pt x="19546" y="15492"/>
                    </a:lnTo>
                    <a:lnTo>
                      <a:pt x="20355" y="14561"/>
                    </a:lnTo>
                    <a:lnTo>
                      <a:pt x="20853" y="13668"/>
                    </a:lnTo>
                    <a:lnTo>
                      <a:pt x="21289" y="12737"/>
                    </a:lnTo>
                    <a:lnTo>
                      <a:pt x="21538" y="11806"/>
                    </a:lnTo>
                    <a:lnTo>
                      <a:pt x="21600" y="10837"/>
                    </a:lnTo>
                    <a:lnTo>
                      <a:pt x="21538" y="9869"/>
                    </a:lnTo>
                    <a:lnTo>
                      <a:pt x="21289" y="8901"/>
                    </a:lnTo>
                    <a:lnTo>
                      <a:pt x="20853" y="7970"/>
                    </a:lnTo>
                    <a:lnTo>
                      <a:pt x="20355" y="7039"/>
                    </a:lnTo>
                    <a:lnTo>
                      <a:pt x="19546" y="6182"/>
                    </a:lnTo>
                    <a:lnTo>
                      <a:pt x="18737" y="5326"/>
                    </a:lnTo>
                    <a:lnTo>
                      <a:pt x="17741" y="4543"/>
                    </a:lnTo>
                    <a:lnTo>
                      <a:pt x="16620" y="3761"/>
                    </a:lnTo>
                    <a:close/>
                    <a:moveTo>
                      <a:pt x="16620" y="3761"/>
                    </a:move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315" name="Freeform 68"/>
              <p:cNvSpPr>
                <a:spLocks/>
              </p:cNvSpPr>
              <p:nvPr/>
            </p:nvSpPr>
            <p:spPr bwMode="gray">
              <a:xfrm>
                <a:off x="57" y="6"/>
                <a:ext cx="77" cy="136"/>
              </a:xfrm>
              <a:custGeom>
                <a:avLst/>
                <a:gdLst>
                  <a:gd name="T0" fmla="*/ 0 w 21600"/>
                  <a:gd name="T1" fmla="*/ 21600 h 21600"/>
                  <a:gd name="T2" fmla="*/ 0 w 21600"/>
                  <a:gd name="T3" fmla="*/ 0 h 21600"/>
                  <a:gd name="T4" fmla="*/ 1152 w 21600"/>
                  <a:gd name="T5" fmla="*/ 41 h 21600"/>
                  <a:gd name="T6" fmla="*/ 2304 w 21600"/>
                  <a:gd name="T7" fmla="*/ 81 h 21600"/>
                  <a:gd name="T8" fmla="*/ 3456 w 21600"/>
                  <a:gd name="T9" fmla="*/ 162 h 21600"/>
                  <a:gd name="T10" fmla="*/ 4608 w 21600"/>
                  <a:gd name="T11" fmla="*/ 325 h 21600"/>
                  <a:gd name="T12" fmla="*/ 5688 w 21600"/>
                  <a:gd name="T13" fmla="*/ 447 h 21600"/>
                  <a:gd name="T14" fmla="*/ 6840 w 21600"/>
                  <a:gd name="T15" fmla="*/ 650 h 21600"/>
                  <a:gd name="T16" fmla="*/ 7920 w 21600"/>
                  <a:gd name="T17" fmla="*/ 853 h 21600"/>
                  <a:gd name="T18" fmla="*/ 8928 w 21600"/>
                  <a:gd name="T19" fmla="*/ 1056 h 21600"/>
                  <a:gd name="T20" fmla="*/ 10008 w 21600"/>
                  <a:gd name="T21" fmla="*/ 1340 h 21600"/>
                  <a:gd name="T22" fmla="*/ 11016 w 21600"/>
                  <a:gd name="T23" fmla="*/ 1624 h 21600"/>
                  <a:gd name="T24" fmla="*/ 11952 w 21600"/>
                  <a:gd name="T25" fmla="*/ 1908 h 21600"/>
                  <a:gd name="T26" fmla="*/ 12888 w 21600"/>
                  <a:gd name="T27" fmla="*/ 2233 h 21600"/>
                  <a:gd name="T28" fmla="*/ 13824 w 21600"/>
                  <a:gd name="T29" fmla="*/ 2598 h 21600"/>
                  <a:gd name="T30" fmla="*/ 14688 w 21600"/>
                  <a:gd name="T31" fmla="*/ 3005 h 21600"/>
                  <a:gd name="T32" fmla="*/ 15480 w 21600"/>
                  <a:gd name="T33" fmla="*/ 3370 h 21600"/>
                  <a:gd name="T34" fmla="*/ 16344 w 21600"/>
                  <a:gd name="T35" fmla="*/ 3776 h 21600"/>
                  <a:gd name="T36" fmla="*/ 17568 w 21600"/>
                  <a:gd name="T37" fmla="*/ 4547 h 21600"/>
                  <a:gd name="T38" fmla="*/ 18648 w 21600"/>
                  <a:gd name="T39" fmla="*/ 5359 h 21600"/>
                  <a:gd name="T40" fmla="*/ 19512 w 21600"/>
                  <a:gd name="T41" fmla="*/ 6212 h 21600"/>
                  <a:gd name="T42" fmla="*/ 20304 w 21600"/>
                  <a:gd name="T43" fmla="*/ 7105 h 21600"/>
                  <a:gd name="T44" fmla="*/ 20880 w 21600"/>
                  <a:gd name="T45" fmla="*/ 7998 h 21600"/>
                  <a:gd name="T46" fmla="*/ 21312 w 21600"/>
                  <a:gd name="T47" fmla="*/ 8932 h 21600"/>
                  <a:gd name="T48" fmla="*/ 21528 w 21600"/>
                  <a:gd name="T49" fmla="*/ 9866 h 21600"/>
                  <a:gd name="T50" fmla="*/ 21600 w 21600"/>
                  <a:gd name="T51" fmla="*/ 10841 h 21600"/>
                  <a:gd name="T52" fmla="*/ 21528 w 21600"/>
                  <a:gd name="T53" fmla="*/ 11937 h 21600"/>
                  <a:gd name="T54" fmla="*/ 21168 w 21600"/>
                  <a:gd name="T55" fmla="*/ 12952 h 21600"/>
                  <a:gd name="T56" fmla="*/ 20592 w 21600"/>
                  <a:gd name="T57" fmla="*/ 13926 h 21600"/>
                  <a:gd name="T58" fmla="*/ 19944 w 21600"/>
                  <a:gd name="T59" fmla="*/ 14901 h 21600"/>
                  <a:gd name="T60" fmla="*/ 19080 w 21600"/>
                  <a:gd name="T61" fmla="*/ 15875 h 21600"/>
                  <a:gd name="T62" fmla="*/ 18000 w 21600"/>
                  <a:gd name="T63" fmla="*/ 16728 h 21600"/>
                  <a:gd name="T64" fmla="*/ 16704 w 21600"/>
                  <a:gd name="T65" fmla="*/ 17540 h 21600"/>
                  <a:gd name="T66" fmla="*/ 15336 w 21600"/>
                  <a:gd name="T67" fmla="*/ 18271 h 21600"/>
                  <a:gd name="T68" fmla="*/ 13752 w 21600"/>
                  <a:gd name="T69" fmla="*/ 19002 h 21600"/>
                  <a:gd name="T70" fmla="*/ 12096 w 21600"/>
                  <a:gd name="T71" fmla="*/ 19611 h 21600"/>
                  <a:gd name="T72" fmla="*/ 10368 w 21600"/>
                  <a:gd name="T73" fmla="*/ 20179 h 21600"/>
                  <a:gd name="T74" fmla="*/ 8424 w 21600"/>
                  <a:gd name="T75" fmla="*/ 20626 h 21600"/>
                  <a:gd name="T76" fmla="*/ 6480 w 21600"/>
                  <a:gd name="T77" fmla="*/ 20991 h 21600"/>
                  <a:gd name="T78" fmla="*/ 4392 w 21600"/>
                  <a:gd name="T79" fmla="*/ 21316 h 21600"/>
                  <a:gd name="T80" fmla="*/ 2232 w 21600"/>
                  <a:gd name="T81" fmla="*/ 21519 h 21600"/>
                  <a:gd name="T82" fmla="*/ 0 w 21600"/>
                  <a:gd name="T83" fmla="*/ 21600 h 21600"/>
                  <a:gd name="T84" fmla="*/ 0 w 21600"/>
                  <a:gd name="T8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0" y="0"/>
                    </a:lnTo>
                    <a:lnTo>
                      <a:pt x="1152" y="41"/>
                    </a:lnTo>
                    <a:lnTo>
                      <a:pt x="2304" y="81"/>
                    </a:lnTo>
                    <a:lnTo>
                      <a:pt x="3456" y="162"/>
                    </a:lnTo>
                    <a:lnTo>
                      <a:pt x="4608" y="325"/>
                    </a:lnTo>
                    <a:lnTo>
                      <a:pt x="5688" y="447"/>
                    </a:lnTo>
                    <a:lnTo>
                      <a:pt x="6840" y="650"/>
                    </a:lnTo>
                    <a:lnTo>
                      <a:pt x="7920" y="853"/>
                    </a:lnTo>
                    <a:lnTo>
                      <a:pt x="8928" y="1056"/>
                    </a:lnTo>
                    <a:lnTo>
                      <a:pt x="10008" y="1340"/>
                    </a:lnTo>
                    <a:lnTo>
                      <a:pt x="11016" y="1624"/>
                    </a:lnTo>
                    <a:lnTo>
                      <a:pt x="11952" y="1908"/>
                    </a:lnTo>
                    <a:lnTo>
                      <a:pt x="12888" y="2233"/>
                    </a:lnTo>
                    <a:lnTo>
                      <a:pt x="13824" y="2598"/>
                    </a:lnTo>
                    <a:lnTo>
                      <a:pt x="14688" y="3005"/>
                    </a:lnTo>
                    <a:lnTo>
                      <a:pt x="15480" y="3370"/>
                    </a:lnTo>
                    <a:lnTo>
                      <a:pt x="16344" y="3776"/>
                    </a:lnTo>
                    <a:lnTo>
                      <a:pt x="17568" y="4547"/>
                    </a:lnTo>
                    <a:lnTo>
                      <a:pt x="18648" y="5359"/>
                    </a:lnTo>
                    <a:lnTo>
                      <a:pt x="19512" y="6212"/>
                    </a:lnTo>
                    <a:lnTo>
                      <a:pt x="20304" y="7105"/>
                    </a:lnTo>
                    <a:lnTo>
                      <a:pt x="20880" y="7998"/>
                    </a:lnTo>
                    <a:lnTo>
                      <a:pt x="21312" y="8932"/>
                    </a:lnTo>
                    <a:lnTo>
                      <a:pt x="21528" y="9866"/>
                    </a:lnTo>
                    <a:lnTo>
                      <a:pt x="21600" y="10841"/>
                    </a:lnTo>
                    <a:lnTo>
                      <a:pt x="21528" y="11937"/>
                    </a:lnTo>
                    <a:lnTo>
                      <a:pt x="21168" y="12952"/>
                    </a:lnTo>
                    <a:lnTo>
                      <a:pt x="20592" y="13926"/>
                    </a:lnTo>
                    <a:lnTo>
                      <a:pt x="19944" y="14901"/>
                    </a:lnTo>
                    <a:lnTo>
                      <a:pt x="19080" y="15875"/>
                    </a:lnTo>
                    <a:lnTo>
                      <a:pt x="18000" y="16728"/>
                    </a:lnTo>
                    <a:lnTo>
                      <a:pt x="16704" y="17540"/>
                    </a:lnTo>
                    <a:lnTo>
                      <a:pt x="15336" y="18271"/>
                    </a:lnTo>
                    <a:lnTo>
                      <a:pt x="13752" y="19002"/>
                    </a:lnTo>
                    <a:lnTo>
                      <a:pt x="12096" y="19611"/>
                    </a:lnTo>
                    <a:lnTo>
                      <a:pt x="10368" y="20179"/>
                    </a:lnTo>
                    <a:lnTo>
                      <a:pt x="8424" y="20626"/>
                    </a:lnTo>
                    <a:lnTo>
                      <a:pt x="6480" y="20991"/>
                    </a:lnTo>
                    <a:lnTo>
                      <a:pt x="4392" y="21316"/>
                    </a:lnTo>
                    <a:lnTo>
                      <a:pt x="2232" y="21519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316" name="Freeform 69"/>
              <p:cNvSpPr>
                <a:spLocks/>
              </p:cNvSpPr>
              <p:nvPr/>
            </p:nvSpPr>
            <p:spPr bwMode="gray">
              <a:xfrm>
                <a:off x="61" y="0"/>
                <a:ext cx="119" cy="149"/>
              </a:xfrm>
              <a:custGeom>
                <a:avLst/>
                <a:gdLst>
                  <a:gd name="T0" fmla="*/ 1726 w 21600"/>
                  <a:gd name="T1" fmla="*/ 21563 h 21600"/>
                  <a:gd name="T2" fmla="*/ 4152 w 21600"/>
                  <a:gd name="T3" fmla="*/ 21377 h 21600"/>
                  <a:gd name="T4" fmla="*/ 6671 w 21600"/>
                  <a:gd name="T5" fmla="*/ 20930 h 21600"/>
                  <a:gd name="T6" fmla="*/ 9144 w 21600"/>
                  <a:gd name="T7" fmla="*/ 20371 h 21600"/>
                  <a:gd name="T8" fmla="*/ 11476 w 21600"/>
                  <a:gd name="T9" fmla="*/ 19589 h 21600"/>
                  <a:gd name="T10" fmla="*/ 13809 w 21600"/>
                  <a:gd name="T11" fmla="*/ 18695 h 21600"/>
                  <a:gd name="T12" fmla="*/ 15862 w 21600"/>
                  <a:gd name="T13" fmla="*/ 17652 h 21600"/>
                  <a:gd name="T14" fmla="*/ 17681 w 21600"/>
                  <a:gd name="T15" fmla="*/ 16535 h 21600"/>
                  <a:gd name="T16" fmla="*/ 19174 w 21600"/>
                  <a:gd name="T17" fmla="*/ 15343 h 21600"/>
                  <a:gd name="T18" fmla="*/ 20340 w 21600"/>
                  <a:gd name="T19" fmla="*/ 14114 h 21600"/>
                  <a:gd name="T20" fmla="*/ 21133 w 21600"/>
                  <a:gd name="T21" fmla="*/ 12811 h 21600"/>
                  <a:gd name="T22" fmla="*/ 21553 w 21600"/>
                  <a:gd name="T23" fmla="*/ 11470 h 21600"/>
                  <a:gd name="T24" fmla="*/ 21553 w 21600"/>
                  <a:gd name="T25" fmla="*/ 10204 h 21600"/>
                  <a:gd name="T26" fmla="*/ 21133 w 21600"/>
                  <a:gd name="T27" fmla="*/ 8901 h 21600"/>
                  <a:gd name="T28" fmla="*/ 20387 w 21600"/>
                  <a:gd name="T29" fmla="*/ 7672 h 21600"/>
                  <a:gd name="T30" fmla="*/ 19267 w 21600"/>
                  <a:gd name="T31" fmla="*/ 6443 h 21600"/>
                  <a:gd name="T32" fmla="*/ 17775 w 21600"/>
                  <a:gd name="T33" fmla="*/ 5214 h 21600"/>
                  <a:gd name="T34" fmla="*/ 15862 w 21600"/>
                  <a:gd name="T35" fmla="*/ 4022 h 21600"/>
                  <a:gd name="T36" fmla="*/ 13716 w 21600"/>
                  <a:gd name="T37" fmla="*/ 2979 h 21600"/>
                  <a:gd name="T38" fmla="*/ 11383 w 21600"/>
                  <a:gd name="T39" fmla="*/ 2048 h 21600"/>
                  <a:gd name="T40" fmla="*/ 8864 w 21600"/>
                  <a:gd name="T41" fmla="*/ 1266 h 21600"/>
                  <a:gd name="T42" fmla="*/ 6345 w 21600"/>
                  <a:gd name="T43" fmla="*/ 670 h 21600"/>
                  <a:gd name="T44" fmla="*/ 3779 w 21600"/>
                  <a:gd name="T45" fmla="*/ 261 h 21600"/>
                  <a:gd name="T46" fmla="*/ 1260 w 21600"/>
                  <a:gd name="T47" fmla="*/ 37 h 21600"/>
                  <a:gd name="T48" fmla="*/ 0 w 21600"/>
                  <a:gd name="T49" fmla="*/ 894 h 21600"/>
                  <a:gd name="T50" fmla="*/ 2379 w 21600"/>
                  <a:gd name="T51" fmla="*/ 1006 h 21600"/>
                  <a:gd name="T52" fmla="*/ 4805 w 21600"/>
                  <a:gd name="T53" fmla="*/ 1303 h 21600"/>
                  <a:gd name="T54" fmla="*/ 7278 w 21600"/>
                  <a:gd name="T55" fmla="*/ 1825 h 21600"/>
                  <a:gd name="T56" fmla="*/ 9704 w 21600"/>
                  <a:gd name="T57" fmla="*/ 2532 h 21600"/>
                  <a:gd name="T58" fmla="*/ 12036 w 21600"/>
                  <a:gd name="T59" fmla="*/ 3352 h 21600"/>
                  <a:gd name="T60" fmla="*/ 14182 w 21600"/>
                  <a:gd name="T61" fmla="*/ 4283 h 21600"/>
                  <a:gd name="T62" fmla="*/ 16095 w 21600"/>
                  <a:gd name="T63" fmla="*/ 5326 h 21600"/>
                  <a:gd name="T64" fmla="*/ 17775 w 21600"/>
                  <a:gd name="T65" fmla="*/ 6480 h 21600"/>
                  <a:gd name="T66" fmla="*/ 18941 w 21600"/>
                  <a:gd name="T67" fmla="*/ 7523 h 21600"/>
                  <a:gd name="T68" fmla="*/ 19781 w 21600"/>
                  <a:gd name="T69" fmla="*/ 8603 h 21600"/>
                  <a:gd name="T70" fmla="*/ 20294 w 21600"/>
                  <a:gd name="T71" fmla="*/ 9720 h 21600"/>
                  <a:gd name="T72" fmla="*/ 20480 w 21600"/>
                  <a:gd name="T73" fmla="*/ 10837 h 21600"/>
                  <a:gd name="T74" fmla="*/ 19921 w 21600"/>
                  <a:gd name="T75" fmla="*/ 12811 h 21600"/>
                  <a:gd name="T76" fmla="*/ 18474 w 21600"/>
                  <a:gd name="T77" fmla="*/ 14710 h 21600"/>
                  <a:gd name="T78" fmla="*/ 16235 w 21600"/>
                  <a:gd name="T79" fmla="*/ 16386 h 21600"/>
                  <a:gd name="T80" fmla="*/ 13483 w 21600"/>
                  <a:gd name="T81" fmla="*/ 17839 h 21600"/>
                  <a:gd name="T82" fmla="*/ 10310 w 21600"/>
                  <a:gd name="T83" fmla="*/ 19030 h 21600"/>
                  <a:gd name="T84" fmla="*/ 6998 w 21600"/>
                  <a:gd name="T85" fmla="*/ 19961 h 21600"/>
                  <a:gd name="T86" fmla="*/ 3639 w 21600"/>
                  <a:gd name="T87" fmla="*/ 20483 h 21600"/>
                  <a:gd name="T88" fmla="*/ 560 w 21600"/>
                  <a:gd name="T89" fmla="*/ 20706 h 21600"/>
                  <a:gd name="T90" fmla="*/ 560 w 21600"/>
                  <a:gd name="T91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1600" h="21600">
                    <a:moveTo>
                      <a:pt x="560" y="21600"/>
                    </a:moveTo>
                    <a:lnTo>
                      <a:pt x="1726" y="21563"/>
                    </a:lnTo>
                    <a:lnTo>
                      <a:pt x="2986" y="21488"/>
                    </a:lnTo>
                    <a:lnTo>
                      <a:pt x="4152" y="21377"/>
                    </a:lnTo>
                    <a:lnTo>
                      <a:pt x="5412" y="21190"/>
                    </a:lnTo>
                    <a:lnTo>
                      <a:pt x="6671" y="20930"/>
                    </a:lnTo>
                    <a:lnTo>
                      <a:pt x="7884" y="20669"/>
                    </a:lnTo>
                    <a:lnTo>
                      <a:pt x="9144" y="20371"/>
                    </a:lnTo>
                    <a:lnTo>
                      <a:pt x="10310" y="19999"/>
                    </a:lnTo>
                    <a:lnTo>
                      <a:pt x="11476" y="19589"/>
                    </a:lnTo>
                    <a:lnTo>
                      <a:pt x="12689" y="19179"/>
                    </a:lnTo>
                    <a:lnTo>
                      <a:pt x="13809" y="18695"/>
                    </a:lnTo>
                    <a:lnTo>
                      <a:pt x="14835" y="18174"/>
                    </a:lnTo>
                    <a:lnTo>
                      <a:pt x="15862" y="17652"/>
                    </a:lnTo>
                    <a:lnTo>
                      <a:pt x="16795" y="17094"/>
                    </a:lnTo>
                    <a:lnTo>
                      <a:pt x="17681" y="16535"/>
                    </a:lnTo>
                    <a:lnTo>
                      <a:pt x="18474" y="15939"/>
                    </a:lnTo>
                    <a:lnTo>
                      <a:pt x="19174" y="15343"/>
                    </a:lnTo>
                    <a:lnTo>
                      <a:pt x="19827" y="14748"/>
                    </a:lnTo>
                    <a:lnTo>
                      <a:pt x="20340" y="14114"/>
                    </a:lnTo>
                    <a:lnTo>
                      <a:pt x="20760" y="13481"/>
                    </a:lnTo>
                    <a:lnTo>
                      <a:pt x="21133" y="12811"/>
                    </a:lnTo>
                    <a:lnTo>
                      <a:pt x="21367" y="12178"/>
                    </a:lnTo>
                    <a:lnTo>
                      <a:pt x="21553" y="11470"/>
                    </a:lnTo>
                    <a:lnTo>
                      <a:pt x="21600" y="10837"/>
                    </a:lnTo>
                    <a:lnTo>
                      <a:pt x="21553" y="10204"/>
                    </a:lnTo>
                    <a:lnTo>
                      <a:pt x="21367" y="9571"/>
                    </a:lnTo>
                    <a:lnTo>
                      <a:pt x="21133" y="8901"/>
                    </a:lnTo>
                    <a:lnTo>
                      <a:pt x="20854" y="8268"/>
                    </a:lnTo>
                    <a:lnTo>
                      <a:pt x="20387" y="7672"/>
                    </a:lnTo>
                    <a:lnTo>
                      <a:pt x="19874" y="7039"/>
                    </a:lnTo>
                    <a:lnTo>
                      <a:pt x="19267" y="6443"/>
                    </a:lnTo>
                    <a:lnTo>
                      <a:pt x="18568" y="5810"/>
                    </a:lnTo>
                    <a:lnTo>
                      <a:pt x="17775" y="5214"/>
                    </a:lnTo>
                    <a:lnTo>
                      <a:pt x="16841" y="4618"/>
                    </a:lnTo>
                    <a:lnTo>
                      <a:pt x="15862" y="4022"/>
                    </a:lnTo>
                    <a:lnTo>
                      <a:pt x="14835" y="3501"/>
                    </a:lnTo>
                    <a:lnTo>
                      <a:pt x="13716" y="2979"/>
                    </a:lnTo>
                    <a:lnTo>
                      <a:pt x="12549" y="2532"/>
                    </a:lnTo>
                    <a:lnTo>
                      <a:pt x="11383" y="2048"/>
                    </a:lnTo>
                    <a:lnTo>
                      <a:pt x="10170" y="1676"/>
                    </a:lnTo>
                    <a:lnTo>
                      <a:pt x="8864" y="1266"/>
                    </a:lnTo>
                    <a:lnTo>
                      <a:pt x="7651" y="931"/>
                    </a:lnTo>
                    <a:lnTo>
                      <a:pt x="6345" y="670"/>
                    </a:lnTo>
                    <a:lnTo>
                      <a:pt x="5038" y="410"/>
                    </a:lnTo>
                    <a:lnTo>
                      <a:pt x="3779" y="261"/>
                    </a:lnTo>
                    <a:lnTo>
                      <a:pt x="2473" y="112"/>
                    </a:lnTo>
                    <a:lnTo>
                      <a:pt x="1260" y="37"/>
                    </a:lnTo>
                    <a:lnTo>
                      <a:pt x="0" y="0"/>
                    </a:lnTo>
                    <a:lnTo>
                      <a:pt x="0" y="894"/>
                    </a:lnTo>
                    <a:lnTo>
                      <a:pt x="1213" y="931"/>
                    </a:lnTo>
                    <a:lnTo>
                      <a:pt x="2379" y="1006"/>
                    </a:lnTo>
                    <a:lnTo>
                      <a:pt x="3546" y="1154"/>
                    </a:lnTo>
                    <a:lnTo>
                      <a:pt x="4805" y="1303"/>
                    </a:lnTo>
                    <a:lnTo>
                      <a:pt x="6018" y="1527"/>
                    </a:lnTo>
                    <a:lnTo>
                      <a:pt x="7278" y="1825"/>
                    </a:lnTo>
                    <a:lnTo>
                      <a:pt x="8491" y="2123"/>
                    </a:lnTo>
                    <a:lnTo>
                      <a:pt x="9704" y="2532"/>
                    </a:lnTo>
                    <a:lnTo>
                      <a:pt x="10917" y="2905"/>
                    </a:lnTo>
                    <a:lnTo>
                      <a:pt x="12036" y="3352"/>
                    </a:lnTo>
                    <a:lnTo>
                      <a:pt x="13156" y="3799"/>
                    </a:lnTo>
                    <a:lnTo>
                      <a:pt x="14182" y="4283"/>
                    </a:lnTo>
                    <a:lnTo>
                      <a:pt x="15209" y="4804"/>
                    </a:lnTo>
                    <a:lnTo>
                      <a:pt x="16095" y="5326"/>
                    </a:lnTo>
                    <a:lnTo>
                      <a:pt x="16981" y="5921"/>
                    </a:lnTo>
                    <a:lnTo>
                      <a:pt x="17775" y="6480"/>
                    </a:lnTo>
                    <a:lnTo>
                      <a:pt x="18428" y="6964"/>
                    </a:lnTo>
                    <a:lnTo>
                      <a:pt x="18941" y="7523"/>
                    </a:lnTo>
                    <a:lnTo>
                      <a:pt x="19407" y="8081"/>
                    </a:lnTo>
                    <a:lnTo>
                      <a:pt x="19781" y="8603"/>
                    </a:lnTo>
                    <a:lnTo>
                      <a:pt x="20060" y="9161"/>
                    </a:lnTo>
                    <a:lnTo>
                      <a:pt x="20294" y="9720"/>
                    </a:lnTo>
                    <a:lnTo>
                      <a:pt x="20387" y="10279"/>
                    </a:lnTo>
                    <a:lnTo>
                      <a:pt x="20480" y="10837"/>
                    </a:lnTo>
                    <a:lnTo>
                      <a:pt x="20294" y="11880"/>
                    </a:lnTo>
                    <a:lnTo>
                      <a:pt x="19921" y="12811"/>
                    </a:lnTo>
                    <a:lnTo>
                      <a:pt x="19267" y="13779"/>
                    </a:lnTo>
                    <a:lnTo>
                      <a:pt x="18474" y="14710"/>
                    </a:lnTo>
                    <a:lnTo>
                      <a:pt x="17448" y="15567"/>
                    </a:lnTo>
                    <a:lnTo>
                      <a:pt x="16235" y="16386"/>
                    </a:lnTo>
                    <a:lnTo>
                      <a:pt x="14929" y="17094"/>
                    </a:lnTo>
                    <a:lnTo>
                      <a:pt x="13483" y="17839"/>
                    </a:lnTo>
                    <a:lnTo>
                      <a:pt x="11943" y="18434"/>
                    </a:lnTo>
                    <a:lnTo>
                      <a:pt x="10310" y="19030"/>
                    </a:lnTo>
                    <a:lnTo>
                      <a:pt x="8631" y="19514"/>
                    </a:lnTo>
                    <a:lnTo>
                      <a:pt x="6998" y="19961"/>
                    </a:lnTo>
                    <a:lnTo>
                      <a:pt x="5318" y="20297"/>
                    </a:lnTo>
                    <a:lnTo>
                      <a:pt x="3639" y="20483"/>
                    </a:lnTo>
                    <a:lnTo>
                      <a:pt x="2053" y="20669"/>
                    </a:lnTo>
                    <a:lnTo>
                      <a:pt x="560" y="20706"/>
                    </a:lnTo>
                    <a:lnTo>
                      <a:pt x="560" y="21600"/>
                    </a:lnTo>
                    <a:close/>
                    <a:moveTo>
                      <a:pt x="560" y="21600"/>
                    </a:move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317" name="Freeform 70"/>
              <p:cNvSpPr>
                <a:spLocks/>
              </p:cNvSpPr>
              <p:nvPr/>
            </p:nvSpPr>
            <p:spPr bwMode="gray">
              <a:xfrm>
                <a:off x="171" y="69"/>
                <a:ext cx="59" cy="155"/>
              </a:xfrm>
              <a:custGeom>
                <a:avLst/>
                <a:gdLst>
                  <a:gd name="T0" fmla="*/ 4431 w 21600"/>
                  <a:gd name="T1" fmla="*/ 14957 h 21600"/>
                  <a:gd name="T2" fmla="*/ 6369 w 21600"/>
                  <a:gd name="T3" fmla="*/ 13784 h 21600"/>
                  <a:gd name="T4" fmla="*/ 8585 w 21600"/>
                  <a:gd name="T5" fmla="*/ 12896 h 21600"/>
                  <a:gd name="T6" fmla="*/ 11077 w 21600"/>
                  <a:gd name="T7" fmla="*/ 12114 h 21600"/>
                  <a:gd name="T8" fmla="*/ 13477 w 21600"/>
                  <a:gd name="T9" fmla="*/ 11404 h 21600"/>
                  <a:gd name="T10" fmla="*/ 15969 w 21600"/>
                  <a:gd name="T11" fmla="*/ 10622 h 21600"/>
                  <a:gd name="T12" fmla="*/ 18185 w 21600"/>
                  <a:gd name="T13" fmla="*/ 9628 h 21600"/>
                  <a:gd name="T14" fmla="*/ 19938 w 21600"/>
                  <a:gd name="T15" fmla="*/ 8455 h 21600"/>
                  <a:gd name="T16" fmla="*/ 21231 w 21600"/>
                  <a:gd name="T17" fmla="*/ 6999 h 21600"/>
                  <a:gd name="T18" fmla="*/ 21600 w 21600"/>
                  <a:gd name="T19" fmla="*/ 5578 h 21600"/>
                  <a:gd name="T20" fmla="*/ 21046 w 21600"/>
                  <a:gd name="T21" fmla="*/ 4228 h 21600"/>
                  <a:gd name="T22" fmla="*/ 19662 w 21600"/>
                  <a:gd name="T23" fmla="*/ 3055 h 21600"/>
                  <a:gd name="T24" fmla="*/ 17077 w 21600"/>
                  <a:gd name="T25" fmla="*/ 1883 h 21600"/>
                  <a:gd name="T26" fmla="*/ 13569 w 21600"/>
                  <a:gd name="T27" fmla="*/ 888 h 21600"/>
                  <a:gd name="T28" fmla="*/ 9323 w 21600"/>
                  <a:gd name="T29" fmla="*/ 213 h 21600"/>
                  <a:gd name="T30" fmla="*/ 4708 w 21600"/>
                  <a:gd name="T31" fmla="*/ 0 h 21600"/>
                  <a:gd name="T32" fmla="*/ 2215 w 21600"/>
                  <a:gd name="T33" fmla="*/ 853 h 21600"/>
                  <a:gd name="T34" fmla="*/ 6738 w 21600"/>
                  <a:gd name="T35" fmla="*/ 888 h 21600"/>
                  <a:gd name="T36" fmla="*/ 10708 w 21600"/>
                  <a:gd name="T37" fmla="*/ 1279 h 21600"/>
                  <a:gd name="T38" fmla="*/ 14123 w 21600"/>
                  <a:gd name="T39" fmla="*/ 1989 h 21600"/>
                  <a:gd name="T40" fmla="*/ 16800 w 21600"/>
                  <a:gd name="T41" fmla="*/ 2984 h 21600"/>
                  <a:gd name="T42" fmla="*/ 18369 w 21600"/>
                  <a:gd name="T43" fmla="*/ 3943 h 21600"/>
                  <a:gd name="T44" fmla="*/ 19108 w 21600"/>
                  <a:gd name="T45" fmla="*/ 5045 h 21600"/>
                  <a:gd name="T46" fmla="*/ 19200 w 21600"/>
                  <a:gd name="T47" fmla="*/ 6253 h 21600"/>
                  <a:gd name="T48" fmla="*/ 18554 w 21600"/>
                  <a:gd name="T49" fmla="*/ 7461 h 21600"/>
                  <a:gd name="T50" fmla="*/ 17169 w 21600"/>
                  <a:gd name="T51" fmla="*/ 8668 h 21600"/>
                  <a:gd name="T52" fmla="*/ 15415 w 21600"/>
                  <a:gd name="T53" fmla="*/ 9557 h 21600"/>
                  <a:gd name="T54" fmla="*/ 13292 w 21600"/>
                  <a:gd name="T55" fmla="*/ 10338 h 21600"/>
                  <a:gd name="T56" fmla="*/ 10985 w 21600"/>
                  <a:gd name="T57" fmla="*/ 11084 h 21600"/>
                  <a:gd name="T58" fmla="*/ 8400 w 21600"/>
                  <a:gd name="T59" fmla="*/ 11830 h 21600"/>
                  <a:gd name="T60" fmla="*/ 5815 w 21600"/>
                  <a:gd name="T61" fmla="*/ 12718 h 21600"/>
                  <a:gd name="T62" fmla="*/ 3508 w 21600"/>
                  <a:gd name="T63" fmla="*/ 13891 h 21600"/>
                  <a:gd name="T64" fmla="*/ 1477 w 21600"/>
                  <a:gd name="T65" fmla="*/ 15383 h 21600"/>
                  <a:gd name="T66" fmla="*/ 0 w 21600"/>
                  <a:gd name="T67" fmla="*/ 18651 h 21600"/>
                  <a:gd name="T68" fmla="*/ 1569 w 21600"/>
                  <a:gd name="T69" fmla="*/ 21600 h 21600"/>
                  <a:gd name="T70" fmla="*/ 2769 w 21600"/>
                  <a:gd name="T71" fmla="*/ 20250 h 21600"/>
                  <a:gd name="T72" fmla="*/ 2585 w 21600"/>
                  <a:gd name="T73" fmla="*/ 17266 h 21600"/>
                  <a:gd name="T74" fmla="*/ 3600 w 21600"/>
                  <a:gd name="T75" fmla="*/ 15703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1600" h="21600">
                    <a:moveTo>
                      <a:pt x="3600" y="15703"/>
                    </a:moveTo>
                    <a:lnTo>
                      <a:pt x="4431" y="14957"/>
                    </a:lnTo>
                    <a:lnTo>
                      <a:pt x="5354" y="14353"/>
                    </a:lnTo>
                    <a:lnTo>
                      <a:pt x="6369" y="13784"/>
                    </a:lnTo>
                    <a:lnTo>
                      <a:pt x="7477" y="13287"/>
                    </a:lnTo>
                    <a:lnTo>
                      <a:pt x="8585" y="12896"/>
                    </a:lnTo>
                    <a:lnTo>
                      <a:pt x="9785" y="12470"/>
                    </a:lnTo>
                    <a:lnTo>
                      <a:pt x="11077" y="12114"/>
                    </a:lnTo>
                    <a:lnTo>
                      <a:pt x="12185" y="11759"/>
                    </a:lnTo>
                    <a:lnTo>
                      <a:pt x="13477" y="11404"/>
                    </a:lnTo>
                    <a:lnTo>
                      <a:pt x="14769" y="11049"/>
                    </a:lnTo>
                    <a:lnTo>
                      <a:pt x="15969" y="10622"/>
                    </a:lnTo>
                    <a:lnTo>
                      <a:pt x="17077" y="10161"/>
                    </a:lnTo>
                    <a:lnTo>
                      <a:pt x="18185" y="9628"/>
                    </a:lnTo>
                    <a:lnTo>
                      <a:pt x="19108" y="9130"/>
                    </a:lnTo>
                    <a:lnTo>
                      <a:pt x="19938" y="8455"/>
                    </a:lnTo>
                    <a:lnTo>
                      <a:pt x="20677" y="7709"/>
                    </a:lnTo>
                    <a:lnTo>
                      <a:pt x="21231" y="6999"/>
                    </a:lnTo>
                    <a:lnTo>
                      <a:pt x="21415" y="6288"/>
                    </a:lnTo>
                    <a:lnTo>
                      <a:pt x="21600" y="5578"/>
                    </a:lnTo>
                    <a:lnTo>
                      <a:pt x="21323" y="4903"/>
                    </a:lnTo>
                    <a:lnTo>
                      <a:pt x="21046" y="4228"/>
                    </a:lnTo>
                    <a:lnTo>
                      <a:pt x="20400" y="3624"/>
                    </a:lnTo>
                    <a:lnTo>
                      <a:pt x="19662" y="3055"/>
                    </a:lnTo>
                    <a:lnTo>
                      <a:pt x="18554" y="2487"/>
                    </a:lnTo>
                    <a:lnTo>
                      <a:pt x="17077" y="1883"/>
                    </a:lnTo>
                    <a:lnTo>
                      <a:pt x="15508" y="1350"/>
                    </a:lnTo>
                    <a:lnTo>
                      <a:pt x="13569" y="888"/>
                    </a:lnTo>
                    <a:lnTo>
                      <a:pt x="11538" y="533"/>
                    </a:lnTo>
                    <a:lnTo>
                      <a:pt x="9323" y="213"/>
                    </a:lnTo>
                    <a:lnTo>
                      <a:pt x="7108" y="71"/>
                    </a:lnTo>
                    <a:lnTo>
                      <a:pt x="4708" y="0"/>
                    </a:lnTo>
                    <a:lnTo>
                      <a:pt x="2123" y="0"/>
                    </a:lnTo>
                    <a:lnTo>
                      <a:pt x="2215" y="853"/>
                    </a:lnTo>
                    <a:lnTo>
                      <a:pt x="4431" y="853"/>
                    </a:lnTo>
                    <a:lnTo>
                      <a:pt x="6738" y="888"/>
                    </a:lnTo>
                    <a:lnTo>
                      <a:pt x="8677" y="1030"/>
                    </a:lnTo>
                    <a:lnTo>
                      <a:pt x="10708" y="1279"/>
                    </a:lnTo>
                    <a:lnTo>
                      <a:pt x="12554" y="1634"/>
                    </a:lnTo>
                    <a:lnTo>
                      <a:pt x="14123" y="1989"/>
                    </a:lnTo>
                    <a:lnTo>
                      <a:pt x="15508" y="2451"/>
                    </a:lnTo>
                    <a:lnTo>
                      <a:pt x="16800" y="2984"/>
                    </a:lnTo>
                    <a:lnTo>
                      <a:pt x="17631" y="3446"/>
                    </a:lnTo>
                    <a:lnTo>
                      <a:pt x="18369" y="3943"/>
                    </a:lnTo>
                    <a:lnTo>
                      <a:pt x="18831" y="4512"/>
                    </a:lnTo>
                    <a:lnTo>
                      <a:pt x="19108" y="5045"/>
                    </a:lnTo>
                    <a:lnTo>
                      <a:pt x="19292" y="5649"/>
                    </a:lnTo>
                    <a:lnTo>
                      <a:pt x="19200" y="6253"/>
                    </a:lnTo>
                    <a:lnTo>
                      <a:pt x="19015" y="6857"/>
                    </a:lnTo>
                    <a:lnTo>
                      <a:pt x="18554" y="7461"/>
                    </a:lnTo>
                    <a:lnTo>
                      <a:pt x="17908" y="8100"/>
                    </a:lnTo>
                    <a:lnTo>
                      <a:pt x="17169" y="8668"/>
                    </a:lnTo>
                    <a:lnTo>
                      <a:pt x="16338" y="9166"/>
                    </a:lnTo>
                    <a:lnTo>
                      <a:pt x="15415" y="9557"/>
                    </a:lnTo>
                    <a:lnTo>
                      <a:pt x="14400" y="9983"/>
                    </a:lnTo>
                    <a:lnTo>
                      <a:pt x="13292" y="10338"/>
                    </a:lnTo>
                    <a:lnTo>
                      <a:pt x="12092" y="10693"/>
                    </a:lnTo>
                    <a:lnTo>
                      <a:pt x="10985" y="11084"/>
                    </a:lnTo>
                    <a:lnTo>
                      <a:pt x="9692" y="11439"/>
                    </a:lnTo>
                    <a:lnTo>
                      <a:pt x="8400" y="11830"/>
                    </a:lnTo>
                    <a:lnTo>
                      <a:pt x="7108" y="12257"/>
                    </a:lnTo>
                    <a:lnTo>
                      <a:pt x="5815" y="12718"/>
                    </a:lnTo>
                    <a:lnTo>
                      <a:pt x="4708" y="13287"/>
                    </a:lnTo>
                    <a:lnTo>
                      <a:pt x="3508" y="13891"/>
                    </a:lnTo>
                    <a:lnTo>
                      <a:pt x="2400" y="14601"/>
                    </a:lnTo>
                    <a:lnTo>
                      <a:pt x="1477" y="15383"/>
                    </a:lnTo>
                    <a:lnTo>
                      <a:pt x="277" y="17053"/>
                    </a:lnTo>
                    <a:lnTo>
                      <a:pt x="0" y="18651"/>
                    </a:lnTo>
                    <a:lnTo>
                      <a:pt x="462" y="20179"/>
                    </a:lnTo>
                    <a:lnTo>
                      <a:pt x="1569" y="21600"/>
                    </a:lnTo>
                    <a:lnTo>
                      <a:pt x="3969" y="21600"/>
                    </a:lnTo>
                    <a:lnTo>
                      <a:pt x="2769" y="20250"/>
                    </a:lnTo>
                    <a:lnTo>
                      <a:pt x="2215" y="18758"/>
                    </a:lnTo>
                    <a:lnTo>
                      <a:pt x="2585" y="17266"/>
                    </a:lnTo>
                    <a:lnTo>
                      <a:pt x="3600" y="15703"/>
                    </a:lnTo>
                    <a:close/>
                    <a:moveTo>
                      <a:pt x="3600" y="15703"/>
                    </a:move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318" name="Rectangle 71"/>
              <p:cNvSpPr>
                <a:spLocks/>
              </p:cNvSpPr>
              <p:nvPr/>
            </p:nvSpPr>
            <p:spPr bwMode="gray">
              <a:xfrm>
                <a:off x="0" y="40"/>
                <a:ext cx="93" cy="2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319" name="Rectangle 72"/>
              <p:cNvSpPr>
                <a:spLocks/>
              </p:cNvSpPr>
              <p:nvPr/>
            </p:nvSpPr>
            <p:spPr bwMode="gray">
              <a:xfrm>
                <a:off x="0" y="89"/>
                <a:ext cx="93" cy="2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  <p:sp>
            <p:nvSpPr>
              <p:cNvPr id="320" name="Freeform 73"/>
              <p:cNvSpPr>
                <a:spLocks/>
              </p:cNvSpPr>
              <p:nvPr/>
            </p:nvSpPr>
            <p:spPr bwMode="gray">
              <a:xfrm>
                <a:off x="12" y="94"/>
                <a:ext cx="8" cy="12"/>
              </a:xfrm>
              <a:custGeom>
                <a:avLst/>
                <a:gdLst>
                  <a:gd name="T0" fmla="*/ 11040 w 21815"/>
                  <a:gd name="T1" fmla="*/ 21600 h 21600"/>
                  <a:gd name="T2" fmla="*/ 14880 w 21815"/>
                  <a:gd name="T3" fmla="*/ 20160 h 21600"/>
                  <a:gd name="T4" fmla="*/ 18240 w 21815"/>
                  <a:gd name="T5" fmla="*/ 18240 h 21600"/>
                  <a:gd name="T6" fmla="*/ 20640 w 21815"/>
                  <a:gd name="T7" fmla="*/ 14880 h 21600"/>
                  <a:gd name="T8" fmla="*/ 21600 w 21815"/>
                  <a:gd name="T9" fmla="*/ 10080 h 21600"/>
                  <a:gd name="T10" fmla="*/ 20640 w 21815"/>
                  <a:gd name="T11" fmla="*/ 6240 h 21600"/>
                  <a:gd name="T12" fmla="*/ 18240 w 21815"/>
                  <a:gd name="T13" fmla="*/ 2880 h 21600"/>
                  <a:gd name="T14" fmla="*/ 14880 w 21815"/>
                  <a:gd name="T15" fmla="*/ 960 h 21600"/>
                  <a:gd name="T16" fmla="*/ 11040 w 21815"/>
                  <a:gd name="T17" fmla="*/ 0 h 21600"/>
                  <a:gd name="T18" fmla="*/ 6720 w 21815"/>
                  <a:gd name="T19" fmla="*/ 960 h 21600"/>
                  <a:gd name="T20" fmla="*/ 3360 w 21815"/>
                  <a:gd name="T21" fmla="*/ 2880 h 21600"/>
                  <a:gd name="T22" fmla="*/ 960 w 21815"/>
                  <a:gd name="T23" fmla="*/ 6240 h 21600"/>
                  <a:gd name="T24" fmla="*/ 0 w 21815"/>
                  <a:gd name="T25" fmla="*/ 10080 h 21600"/>
                  <a:gd name="T26" fmla="*/ 960 w 21815"/>
                  <a:gd name="T27" fmla="*/ 14880 h 21600"/>
                  <a:gd name="T28" fmla="*/ 3360 w 21815"/>
                  <a:gd name="T29" fmla="*/ 18240 h 21600"/>
                  <a:gd name="T30" fmla="*/ 6720 w 21815"/>
                  <a:gd name="T31" fmla="*/ 20160 h 21600"/>
                  <a:gd name="T32" fmla="*/ 11040 w 21815"/>
                  <a:gd name="T33" fmla="*/ 21600 h 21600"/>
                  <a:gd name="T34" fmla="*/ 11040 w 21815"/>
                  <a:gd name="T3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815" h="21600">
                    <a:moveTo>
                      <a:pt x="11040" y="21600"/>
                    </a:moveTo>
                    <a:lnTo>
                      <a:pt x="14880" y="20160"/>
                    </a:lnTo>
                    <a:lnTo>
                      <a:pt x="18240" y="18240"/>
                    </a:lnTo>
                    <a:lnTo>
                      <a:pt x="20640" y="14880"/>
                    </a:lnTo>
                    <a:lnTo>
                      <a:pt x="21600" y="10080"/>
                    </a:lnTo>
                    <a:lnTo>
                      <a:pt x="20640" y="6240"/>
                    </a:lnTo>
                    <a:lnTo>
                      <a:pt x="18240" y="2880"/>
                    </a:lnTo>
                    <a:lnTo>
                      <a:pt x="14880" y="960"/>
                    </a:lnTo>
                    <a:lnTo>
                      <a:pt x="11040" y="0"/>
                    </a:lnTo>
                    <a:lnTo>
                      <a:pt x="6720" y="960"/>
                    </a:lnTo>
                    <a:lnTo>
                      <a:pt x="3360" y="2880"/>
                    </a:lnTo>
                    <a:lnTo>
                      <a:pt x="960" y="6240"/>
                    </a:lnTo>
                    <a:lnTo>
                      <a:pt x="0" y="10080"/>
                    </a:lnTo>
                    <a:lnTo>
                      <a:pt x="960" y="14880"/>
                    </a:lnTo>
                    <a:lnTo>
                      <a:pt x="3360" y="18240"/>
                    </a:lnTo>
                    <a:lnTo>
                      <a:pt x="6720" y="20160"/>
                    </a:lnTo>
                    <a:lnTo>
                      <a:pt x="11040" y="21600"/>
                    </a:lnTo>
                    <a:close/>
                    <a:moveTo>
                      <a:pt x="11040" y="21600"/>
                    </a:move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chemeClr val="tx1"/>
                    </a:solidFill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>
                <a:noAutofit/>
              </a:bodyPr>
              <a:lstStyle/>
              <a:p>
                <a:endParaRPr lang="en-US" sz="1400"/>
              </a:p>
            </p:txBody>
          </p:sp>
        </p:grpSp>
      </p:grpSp>
      <p:sp>
        <p:nvSpPr>
          <p:cNvPr id="199" name="AutoShape 250"/>
          <p:cNvSpPr>
            <a:spLocks noChangeArrowheads="1"/>
          </p:cNvSpPr>
          <p:nvPr/>
        </p:nvSpPr>
        <p:spPr bwMode="gray">
          <a:xfrm>
            <a:off x="712798" y="852488"/>
            <a:ext cx="6072671" cy="363176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3076" tIns="73076" rIns="73076" bIns="73076" anchor="ctr" anchorCtr="0">
            <a:spAutoFit/>
          </a:bodyPr>
          <a:lstStyle/>
          <a:p>
            <a:r>
              <a:rPr lang="en-US" sz="1400" b="1" dirty="0">
                <a:solidFill>
                  <a:srgbClr val="002960"/>
                </a:solidFill>
                <a:latin typeface="+mn-lt"/>
              </a:rPr>
              <a:t>Recovery and reconstruction funds needed</a:t>
            </a:r>
            <a:endParaRPr lang="en-US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200" name="AutoShape 250"/>
          <p:cNvSpPr>
            <a:spLocks noChangeArrowheads="1"/>
          </p:cNvSpPr>
          <p:nvPr/>
        </p:nvSpPr>
        <p:spPr bwMode="gray">
          <a:xfrm>
            <a:off x="781050" y="1239838"/>
            <a:ext cx="85760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 anchorCtr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+mn-lt"/>
              </a:rPr>
              <a:t>US$ billion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781058" y="1909773"/>
            <a:ext cx="5830401" cy="3711106"/>
            <a:chOff x="369888" y="1972145"/>
            <a:chExt cx="8078455" cy="3711106"/>
          </a:xfrm>
        </p:grpSpPr>
        <p:cxnSp>
          <p:nvCxnSpPr>
            <p:cNvPr id="262" name="Straight Connector 261"/>
            <p:cNvCxnSpPr>
              <a:cxnSpLocks/>
            </p:cNvCxnSpPr>
            <p:nvPr>
              <p:custDataLst>
                <p:tags r:id="rId93"/>
              </p:custDataLst>
            </p:nvPr>
          </p:nvCxnSpPr>
          <p:spPr bwMode="gray">
            <a:xfrm>
              <a:off x="369888" y="1972145"/>
              <a:ext cx="8078455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/>
            <p:cNvCxnSpPr>
              <a:cxnSpLocks/>
            </p:cNvCxnSpPr>
            <p:nvPr>
              <p:custDataLst>
                <p:tags r:id="rId94"/>
              </p:custDataLst>
            </p:nvPr>
          </p:nvCxnSpPr>
          <p:spPr bwMode="gray">
            <a:xfrm>
              <a:off x="369888" y="2384490"/>
              <a:ext cx="8078455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4" name="Straight Connector 273"/>
            <p:cNvCxnSpPr>
              <a:cxnSpLocks/>
            </p:cNvCxnSpPr>
            <p:nvPr>
              <p:custDataLst>
                <p:tags r:id="rId95"/>
              </p:custDataLst>
            </p:nvPr>
          </p:nvCxnSpPr>
          <p:spPr bwMode="gray">
            <a:xfrm>
              <a:off x="369888" y="2796835"/>
              <a:ext cx="8078455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Connector 277"/>
            <p:cNvCxnSpPr>
              <a:cxnSpLocks/>
            </p:cNvCxnSpPr>
            <p:nvPr>
              <p:custDataLst>
                <p:tags r:id="rId96"/>
              </p:custDataLst>
            </p:nvPr>
          </p:nvCxnSpPr>
          <p:spPr bwMode="gray">
            <a:xfrm>
              <a:off x="369888" y="3209180"/>
              <a:ext cx="8078455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Straight Connector 278"/>
            <p:cNvCxnSpPr>
              <a:cxnSpLocks/>
            </p:cNvCxnSpPr>
            <p:nvPr>
              <p:custDataLst>
                <p:tags r:id="rId97"/>
              </p:custDataLst>
            </p:nvPr>
          </p:nvCxnSpPr>
          <p:spPr bwMode="gray">
            <a:xfrm>
              <a:off x="369888" y="3621525"/>
              <a:ext cx="8078455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2" name="Straight Connector 281"/>
            <p:cNvCxnSpPr>
              <a:cxnSpLocks/>
            </p:cNvCxnSpPr>
            <p:nvPr>
              <p:custDataLst>
                <p:tags r:id="rId98"/>
              </p:custDataLst>
            </p:nvPr>
          </p:nvCxnSpPr>
          <p:spPr bwMode="gray">
            <a:xfrm>
              <a:off x="369888" y="4033870"/>
              <a:ext cx="8078455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/>
            <p:cNvCxnSpPr>
              <a:cxnSpLocks/>
            </p:cNvCxnSpPr>
            <p:nvPr>
              <p:custDataLst>
                <p:tags r:id="rId99"/>
              </p:custDataLst>
            </p:nvPr>
          </p:nvCxnSpPr>
          <p:spPr bwMode="gray">
            <a:xfrm>
              <a:off x="369888" y="4446215"/>
              <a:ext cx="8078455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1" name="Straight Connector 320"/>
            <p:cNvCxnSpPr>
              <a:cxnSpLocks/>
            </p:cNvCxnSpPr>
            <p:nvPr>
              <p:custDataLst>
                <p:tags r:id="rId100"/>
              </p:custDataLst>
            </p:nvPr>
          </p:nvCxnSpPr>
          <p:spPr bwMode="gray">
            <a:xfrm>
              <a:off x="369888" y="4858560"/>
              <a:ext cx="8078455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Straight Connector 323"/>
            <p:cNvCxnSpPr>
              <a:cxnSpLocks/>
            </p:cNvCxnSpPr>
            <p:nvPr>
              <p:custDataLst>
                <p:tags r:id="rId101"/>
              </p:custDataLst>
            </p:nvPr>
          </p:nvCxnSpPr>
          <p:spPr bwMode="gray">
            <a:xfrm>
              <a:off x="369888" y="5270905"/>
              <a:ext cx="8078455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Connector 326"/>
            <p:cNvCxnSpPr>
              <a:cxnSpLocks/>
            </p:cNvCxnSpPr>
            <p:nvPr>
              <p:custDataLst>
                <p:tags r:id="rId102"/>
              </p:custDataLst>
            </p:nvPr>
          </p:nvCxnSpPr>
          <p:spPr bwMode="gray">
            <a:xfrm>
              <a:off x="369888" y="5683251"/>
              <a:ext cx="8078455" cy="0"/>
            </a:xfrm>
            <a:prstGeom prst="line">
              <a:avLst/>
            </a:prstGeom>
            <a:ln w="1905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4" name="Rectangle 31"/>
          <p:cNvSpPr txBox="1"/>
          <p:nvPr/>
        </p:nvSpPr>
        <p:spPr bwMode="gray">
          <a:xfrm>
            <a:off x="6702425" y="2603500"/>
            <a:ext cx="1647488" cy="174080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1934" tIns="71934" rIns="71934" bIns="7193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89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400" dirty="0"/>
          </a:p>
        </p:txBody>
      </p:sp>
      <p:grpSp>
        <p:nvGrpSpPr>
          <p:cNvPr id="205" name="Group 204"/>
          <p:cNvGrpSpPr/>
          <p:nvPr/>
        </p:nvGrpSpPr>
        <p:grpSpPr>
          <a:xfrm>
            <a:off x="6810385" y="2701935"/>
            <a:ext cx="1443853" cy="1508105"/>
            <a:chOff x="5541203" y="5568293"/>
            <a:chExt cx="1443853" cy="1508105"/>
          </a:xfrm>
        </p:grpSpPr>
        <p:sp>
          <p:nvSpPr>
            <p:cNvPr id="207" name="Freeform 115"/>
            <p:cNvSpPr>
              <a:spLocks noEditPoints="1"/>
            </p:cNvSpPr>
            <p:nvPr>
              <p:custDataLst>
                <p:tags r:id="rId92"/>
              </p:custDataLst>
            </p:nvPr>
          </p:nvSpPr>
          <p:spPr bwMode="gray">
            <a:xfrm>
              <a:off x="5541203" y="5956015"/>
              <a:ext cx="171534" cy="635041"/>
            </a:xfrm>
            <a:custGeom>
              <a:avLst/>
              <a:gdLst>
                <a:gd name="T0" fmla="*/ 176 w 728"/>
                <a:gd name="T1" fmla="*/ 3592 h 4776"/>
                <a:gd name="T2" fmla="*/ 0 w 728"/>
                <a:gd name="T3" fmla="*/ 1060 h 4776"/>
                <a:gd name="T4" fmla="*/ 0 w 728"/>
                <a:gd name="T5" fmla="*/ 0 h 4776"/>
                <a:gd name="T6" fmla="*/ 728 w 728"/>
                <a:gd name="T7" fmla="*/ 0 h 4776"/>
                <a:gd name="T8" fmla="*/ 728 w 728"/>
                <a:gd name="T9" fmla="*/ 1060 h 4776"/>
                <a:gd name="T10" fmla="*/ 560 w 728"/>
                <a:gd name="T11" fmla="*/ 3592 h 4776"/>
                <a:gd name="T12" fmla="*/ 176 w 728"/>
                <a:gd name="T13" fmla="*/ 3592 h 4776"/>
                <a:gd name="T14" fmla="*/ 24 w 728"/>
                <a:gd name="T15" fmla="*/ 4776 h 4776"/>
                <a:gd name="T16" fmla="*/ 24 w 728"/>
                <a:gd name="T17" fmla="*/ 4112 h 4776"/>
                <a:gd name="T18" fmla="*/ 704 w 728"/>
                <a:gd name="T19" fmla="*/ 4112 h 4776"/>
                <a:gd name="T20" fmla="*/ 704 w 728"/>
                <a:gd name="T21" fmla="*/ 4776 h 4776"/>
                <a:gd name="T22" fmla="*/ 24 w 728"/>
                <a:gd name="T23" fmla="*/ 4776 h 4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8" h="4776">
                  <a:moveTo>
                    <a:pt x="176" y="3592"/>
                  </a:moveTo>
                  <a:lnTo>
                    <a:pt x="0" y="1060"/>
                  </a:lnTo>
                  <a:lnTo>
                    <a:pt x="0" y="0"/>
                  </a:lnTo>
                  <a:lnTo>
                    <a:pt x="728" y="0"/>
                  </a:lnTo>
                  <a:lnTo>
                    <a:pt x="728" y="1060"/>
                  </a:lnTo>
                  <a:lnTo>
                    <a:pt x="560" y="3592"/>
                  </a:lnTo>
                  <a:lnTo>
                    <a:pt x="176" y="3592"/>
                  </a:lnTo>
                  <a:close/>
                  <a:moveTo>
                    <a:pt x="24" y="4776"/>
                  </a:moveTo>
                  <a:lnTo>
                    <a:pt x="24" y="4112"/>
                  </a:lnTo>
                  <a:lnTo>
                    <a:pt x="704" y="4112"/>
                  </a:lnTo>
                  <a:lnTo>
                    <a:pt x="704" y="4776"/>
                  </a:lnTo>
                  <a:lnTo>
                    <a:pt x="24" y="4776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/>
            </a:p>
          </p:txBody>
        </p:sp>
        <p:sp>
          <p:nvSpPr>
            <p:cNvPr id="208" name="Rectangle 6"/>
            <p:cNvSpPr txBox="1"/>
            <p:nvPr/>
          </p:nvSpPr>
          <p:spPr bwMode="gray">
            <a:xfrm>
              <a:off x="5836737" y="5568293"/>
              <a:ext cx="1148319" cy="1508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89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tx2"/>
                  </a:solidFill>
                </a:rPr>
                <a:t>To be updated in coordination with </a:t>
              </a:r>
              <a:r>
                <a:rPr lang="en-US" sz="1400" b="1" dirty="0" err="1">
                  <a:solidFill>
                    <a:schemeClr val="tx2"/>
                  </a:solidFill>
                </a:rPr>
                <a:t>NDRMMC</a:t>
              </a:r>
              <a:r>
                <a:rPr lang="en-US" sz="1400" b="1" dirty="0">
                  <a:solidFill>
                    <a:schemeClr val="tx2"/>
                  </a:solidFill>
                </a:rPr>
                <a:t>, </a:t>
              </a:r>
              <a:r>
                <a:rPr lang="en-US" sz="1400" b="1" dirty="0" err="1">
                  <a:solidFill>
                    <a:schemeClr val="tx2"/>
                  </a:solidFill>
                </a:rPr>
                <a:t>NEDA</a:t>
              </a:r>
              <a:r>
                <a:rPr lang="en-US" sz="1400" b="1" dirty="0">
                  <a:solidFill>
                    <a:schemeClr val="tx2"/>
                  </a:solidFill>
                </a:rPr>
                <a:t> and line agen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10353126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1460621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62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73" y="230198"/>
            <a:ext cx="8618537" cy="584775"/>
          </a:xfrm>
        </p:spPr>
        <p:txBody>
          <a:bodyPr/>
          <a:lstStyle/>
          <a:p>
            <a:pPr lvl="1">
              <a:tabLst>
                <a:tab pos="269589" algn="l"/>
              </a:tabLst>
            </a:pPr>
            <a:r>
              <a:rPr lang="en-US" dirty="0" smtClean="0"/>
              <a:t>MO No. 62 establishes PARR to manage and coordinate rehabilitation, recovery and reconstruction efforts</a:t>
            </a:r>
            <a:endParaRPr lang="en-US" dirty="0"/>
          </a:p>
        </p:txBody>
      </p:sp>
      <p:pic>
        <p:nvPicPr>
          <p:cNvPr id="5" name="Picture 19" descr="11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gray">
          <a:xfrm>
            <a:off x="230377" y="814963"/>
            <a:ext cx="8594082" cy="5331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 txBox="1"/>
          <p:nvPr/>
        </p:nvSpPr>
        <p:spPr>
          <a:xfrm>
            <a:off x="508000" y="1289622"/>
            <a:ext cx="8026400" cy="4485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350" b="1" dirty="0">
                <a:solidFill>
                  <a:schemeClr val="tx2"/>
                </a:solidFill>
              </a:rPr>
              <a:t>Role of Presidential Assistant for Rehabilitation and Recovery</a:t>
            </a:r>
          </a:p>
          <a:p>
            <a:pPr lvl="1">
              <a:spcBef>
                <a:spcPts val="600"/>
              </a:spcBef>
            </a:pPr>
            <a:r>
              <a:rPr lang="en-US" sz="1350" dirty="0"/>
              <a:t>Act as the over-all </a:t>
            </a:r>
            <a:r>
              <a:rPr lang="en-US" sz="1350" b="1" u="sng" dirty="0"/>
              <a:t>manager and coordinator </a:t>
            </a:r>
            <a:r>
              <a:rPr lang="en-US" sz="1350" dirty="0"/>
              <a:t>of rehabilitation, recovery and reconstruction efforts of government departments, agencies and instrumentalities in the affected areas.</a:t>
            </a:r>
          </a:p>
          <a:p>
            <a:pPr lvl="1">
              <a:spcBef>
                <a:spcPts val="600"/>
              </a:spcBef>
            </a:pPr>
            <a:r>
              <a:rPr lang="en-US" sz="1350" dirty="0"/>
              <a:t>Included in these affected areas are Samar, Leyte, Negros, Cebu, Bohol, </a:t>
            </a:r>
            <a:r>
              <a:rPr lang="en-US" sz="1350" dirty="0" err="1"/>
              <a:t>Capiz</a:t>
            </a:r>
            <a:r>
              <a:rPr lang="en-US" sz="1350" dirty="0"/>
              <a:t>, </a:t>
            </a:r>
            <a:r>
              <a:rPr lang="en-US" sz="1350" dirty="0" err="1"/>
              <a:t>Aklan</a:t>
            </a:r>
            <a:r>
              <a:rPr lang="en-US" sz="1350" dirty="0"/>
              <a:t>, Antique, Iloilo and Palawan</a:t>
            </a:r>
          </a:p>
          <a:p>
            <a:pPr lvl="1">
              <a:spcBef>
                <a:spcPts val="600"/>
              </a:spcBef>
            </a:pPr>
            <a:r>
              <a:rPr lang="en-US" sz="1350" b="1" u="sng" dirty="0"/>
              <a:t>Coordinate with the National Disaster Risk Reduction and Management Council </a:t>
            </a:r>
            <a:r>
              <a:rPr lang="en-US" sz="1350" dirty="0"/>
              <a:t>(</a:t>
            </a:r>
            <a:r>
              <a:rPr lang="en-US" sz="1350" dirty="0" err="1"/>
              <a:t>NDRRMC</a:t>
            </a:r>
            <a:r>
              <a:rPr lang="en-US" sz="1350" dirty="0"/>
              <a:t>) and its member-agencies and </a:t>
            </a:r>
            <a:r>
              <a:rPr lang="en-US" sz="1350" b="1" u="sng" dirty="0"/>
              <a:t>consult with the concerned local government units </a:t>
            </a:r>
            <a:r>
              <a:rPr lang="en-US" sz="1350" dirty="0"/>
              <a:t>in the</a:t>
            </a:r>
            <a:r>
              <a:rPr lang="en-US" sz="1350" b="1" u="sng" dirty="0"/>
              <a:t> formulation of plans and programs </a:t>
            </a:r>
            <a:r>
              <a:rPr lang="en-US" sz="1350" dirty="0"/>
              <a:t>for the rehabilitation, recovery and development of the affected areas.</a:t>
            </a:r>
          </a:p>
          <a:p>
            <a:pPr lvl="1">
              <a:spcBef>
                <a:spcPts val="600"/>
              </a:spcBef>
            </a:pPr>
            <a:r>
              <a:rPr lang="en-US" sz="1350" b="1" u="sng" dirty="0"/>
              <a:t>Propose funding </a:t>
            </a:r>
            <a:r>
              <a:rPr lang="en-US" sz="1350" dirty="0"/>
              <a:t>support for the implementation of plans</a:t>
            </a:r>
          </a:p>
          <a:p>
            <a:pPr lvl="1">
              <a:spcBef>
                <a:spcPts val="600"/>
              </a:spcBef>
            </a:pPr>
            <a:r>
              <a:rPr lang="en-US" sz="1350" b="1" u="sng" dirty="0"/>
              <a:t>Exercise oversight </a:t>
            </a:r>
            <a:r>
              <a:rPr lang="en-US" sz="1350" dirty="0"/>
              <a:t>over the relevant government agencies with respect to the implementation of the plans and programs</a:t>
            </a:r>
          </a:p>
          <a:p>
            <a:pPr lvl="1">
              <a:spcBef>
                <a:spcPts val="600"/>
              </a:spcBef>
            </a:pPr>
            <a:r>
              <a:rPr lang="en-US" sz="1350" b="1" u="sng" dirty="0"/>
              <a:t>Call upon </a:t>
            </a:r>
            <a:r>
              <a:rPr lang="en-US" sz="1350" dirty="0"/>
              <a:t>any department, bureau, office, agency, or instrumentality of the government, including Government-Owned or Controlled Corporations (</a:t>
            </a:r>
            <a:r>
              <a:rPr lang="en-US" sz="1350" dirty="0" err="1"/>
              <a:t>GOCCs</a:t>
            </a:r>
            <a:r>
              <a:rPr lang="en-US" sz="1350" dirty="0"/>
              <a:t>), Government Financial Institutions (</a:t>
            </a:r>
            <a:r>
              <a:rPr lang="en-US" sz="1350" dirty="0" err="1"/>
              <a:t>GFIS</a:t>
            </a:r>
            <a:r>
              <a:rPr lang="en-US" sz="1350" dirty="0"/>
              <a:t>), </a:t>
            </a:r>
            <a:r>
              <a:rPr lang="en-US" sz="1350" dirty="0" err="1"/>
              <a:t>LGUs</a:t>
            </a:r>
            <a:r>
              <a:rPr lang="en-US" sz="1350" dirty="0"/>
              <a:t>, and request non-government organizations (NGOs), the private sector, and other entities for assistance as the circumstances and exigencies may require in carrying out </a:t>
            </a:r>
            <a:r>
              <a:rPr lang="en-US" sz="1350" dirty="0" smtClean="0"/>
              <a:t>his </a:t>
            </a:r>
            <a:r>
              <a:rPr lang="en-US" sz="1350" dirty="0"/>
              <a:t>mandate.</a:t>
            </a:r>
          </a:p>
          <a:p>
            <a:pPr lvl="1">
              <a:spcBef>
                <a:spcPts val="600"/>
              </a:spcBef>
            </a:pPr>
            <a:r>
              <a:rPr lang="en-US" sz="1350" dirty="0"/>
              <a:t>All departments, bureaus, offices, agencies, or instrumentalities of the government, including </a:t>
            </a:r>
            <a:r>
              <a:rPr lang="en-US" sz="1350" dirty="0" err="1"/>
              <a:t>GOCCs</a:t>
            </a:r>
            <a:r>
              <a:rPr lang="en-US" sz="1350" dirty="0"/>
              <a:t> and </a:t>
            </a:r>
            <a:r>
              <a:rPr lang="en-US" sz="1350" dirty="0" err="1"/>
              <a:t>GFIs</a:t>
            </a:r>
            <a:r>
              <a:rPr lang="en-US" sz="1350" dirty="0"/>
              <a:t>, are </a:t>
            </a:r>
            <a:r>
              <a:rPr lang="en-US" sz="1350" b="1" u="sng" dirty="0"/>
              <a:t>hereby directed to render full assistance and cooperation </a:t>
            </a:r>
            <a:r>
              <a:rPr lang="en-US" sz="1350" dirty="0"/>
              <a:t>to the Presidential Assistant as may be required to carry out his functions pursuant to this Order. </a:t>
            </a:r>
            <a:r>
              <a:rPr lang="en-US" sz="1350" dirty="0" err="1"/>
              <a:t>LGUs</a:t>
            </a:r>
            <a:r>
              <a:rPr lang="en-US" sz="1350" dirty="0"/>
              <a:t>, NGOs, the private sector, and other entities for assistance as the exigencies may require</a:t>
            </a:r>
          </a:p>
        </p:txBody>
      </p:sp>
      <mc:AlternateContent xmlns:mc="http://schemas.openxmlformats.org/markup-compatibility/2006">
        <mc:Choice xmlns:p14="http://schemas.microsoft.com/office/powerpoint/2010/main" xmlns="" Requires="p14">
          <p:contentPart p14:bwMode="auto" r:id="rId7">
            <p14:nvContentPartPr>
              <p14:cNvPr id="8" name="Ink 7"/>
              <p14:cNvContentPartPr/>
              <p14:nvPr/>
            </p14:nvContentPartPr>
            <p14:xfrm>
              <a:off x="11770751" y="1495440"/>
              <a:ext cx="360" cy="360"/>
            </p14:xfrm>
          </p:contentPart>
        </mc:Choice>
        <mc:Fallback>
          <p:pic>
            <p:nvPicPr>
              <p:cNvPr id="8" name="Ink 7"/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767871" y="1492560"/>
                <a:ext cx="6120" cy="61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xmlns="" val="629591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77730090"/>
              </p:ext>
            </p:extLst>
          </p:nvPr>
        </p:nvGraphicFramePr>
        <p:xfrm>
          <a:off x="9" y="10"/>
          <a:ext cx="108906" cy="108913"/>
        </p:xfrm>
        <a:graphic>
          <a:graphicData uri="http://schemas.openxmlformats.org/presentationml/2006/ole">
            <p:oleObj spid="_x0000_s27654" name="think-cell Slide" r:id="rId4" imgW="360" imgH="360" progId="">
              <p:embed/>
            </p:oleObj>
          </a:graphicData>
        </a:graphic>
      </p:graphicFrame>
      <p:sp>
        <p:nvSpPr>
          <p:cNvPr id="149" name="Rectangle 148"/>
          <p:cNvSpPr/>
          <p:nvPr/>
        </p:nvSpPr>
        <p:spPr>
          <a:xfrm>
            <a:off x="4480729" y="821513"/>
            <a:ext cx="4269129" cy="49057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2" tIns="45667" rIns="91332" bIns="45667" anchor="ctr"/>
          <a:lstStyle/>
          <a:p>
            <a:pPr algn="ctr">
              <a:defRPr/>
            </a:pPr>
            <a:endParaRPr lang="en-US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49368" y="821513"/>
            <a:ext cx="4269129" cy="49057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2" tIns="45667" rIns="91332" bIns="45667"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27" name="Rectangle 31"/>
          <p:cNvSpPr>
            <a:spLocks/>
          </p:cNvSpPr>
          <p:nvPr/>
        </p:nvSpPr>
        <p:spPr bwMode="auto">
          <a:xfrm>
            <a:off x="149368" y="150933"/>
            <a:ext cx="8248879" cy="5847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defTabSz="894400">
              <a:tabLst>
                <a:tab pos="356810" algn="l"/>
              </a:tabLst>
            </a:pPr>
            <a:r>
              <a:rPr lang="en-US" sz="1900" b="1" dirty="0" smtClean="0">
                <a:solidFill>
                  <a:schemeClr val="tx2"/>
                </a:solidFill>
                <a:sym typeface="Georgia" charset="0"/>
              </a:rPr>
              <a:t>Several </a:t>
            </a:r>
            <a:r>
              <a:rPr lang="en-US" sz="1900" b="1" dirty="0">
                <a:solidFill>
                  <a:schemeClr val="tx2"/>
                </a:solidFill>
                <a:sym typeface="Georgia" charset="0"/>
              </a:rPr>
              <a:t>leading companies have volunteered to serve as </a:t>
            </a:r>
            <a:br>
              <a:rPr lang="en-US" sz="1900" b="1" dirty="0">
                <a:solidFill>
                  <a:schemeClr val="tx2"/>
                </a:solidFill>
                <a:sym typeface="Georgia" charset="0"/>
              </a:rPr>
            </a:br>
            <a:r>
              <a:rPr lang="en-US" sz="1900" b="1" dirty="0">
                <a:solidFill>
                  <a:schemeClr val="tx2"/>
                </a:solidFill>
                <a:sym typeface="Georgia" charset="0"/>
              </a:rPr>
              <a:t>Development Sponsors</a:t>
            </a:r>
          </a:p>
        </p:txBody>
      </p:sp>
      <p:sp>
        <p:nvSpPr>
          <p:cNvPr id="3078" name="Line 92"/>
          <p:cNvSpPr>
            <a:spLocks noChangeShapeType="1"/>
          </p:cNvSpPr>
          <p:nvPr/>
        </p:nvSpPr>
        <p:spPr bwMode="auto">
          <a:xfrm>
            <a:off x="191375" y="1912198"/>
            <a:ext cx="4122884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79" name="Line 93"/>
          <p:cNvSpPr>
            <a:spLocks noChangeShapeType="1"/>
          </p:cNvSpPr>
          <p:nvPr/>
        </p:nvSpPr>
        <p:spPr bwMode="auto">
          <a:xfrm>
            <a:off x="191375" y="2298060"/>
            <a:ext cx="4122884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80" name="Line 94"/>
          <p:cNvSpPr>
            <a:spLocks noChangeShapeType="1"/>
          </p:cNvSpPr>
          <p:nvPr/>
        </p:nvSpPr>
        <p:spPr bwMode="auto">
          <a:xfrm>
            <a:off x="191375" y="2683923"/>
            <a:ext cx="4122884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81" name="Line 95"/>
          <p:cNvSpPr>
            <a:spLocks noChangeShapeType="1"/>
          </p:cNvSpPr>
          <p:nvPr/>
        </p:nvSpPr>
        <p:spPr bwMode="auto">
          <a:xfrm>
            <a:off x="191375" y="3069785"/>
            <a:ext cx="4122884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82" name="Line 96"/>
          <p:cNvSpPr>
            <a:spLocks noChangeShapeType="1"/>
          </p:cNvSpPr>
          <p:nvPr/>
        </p:nvSpPr>
        <p:spPr bwMode="auto">
          <a:xfrm>
            <a:off x="191375" y="3455648"/>
            <a:ext cx="4122884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83" name="Line 97"/>
          <p:cNvSpPr>
            <a:spLocks noChangeShapeType="1"/>
          </p:cNvSpPr>
          <p:nvPr/>
        </p:nvSpPr>
        <p:spPr bwMode="auto">
          <a:xfrm>
            <a:off x="191375" y="4613235"/>
            <a:ext cx="4122884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84" name="Line 98"/>
          <p:cNvSpPr>
            <a:spLocks noChangeShapeType="1"/>
          </p:cNvSpPr>
          <p:nvPr/>
        </p:nvSpPr>
        <p:spPr bwMode="auto">
          <a:xfrm>
            <a:off x="191375" y="5383404"/>
            <a:ext cx="4122884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85" name="Line 96"/>
          <p:cNvSpPr>
            <a:spLocks noChangeShapeType="1"/>
          </p:cNvSpPr>
          <p:nvPr/>
        </p:nvSpPr>
        <p:spPr bwMode="auto">
          <a:xfrm>
            <a:off x="191375" y="3841510"/>
            <a:ext cx="4122884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86" name="Line 96"/>
          <p:cNvSpPr>
            <a:spLocks noChangeShapeType="1"/>
          </p:cNvSpPr>
          <p:nvPr/>
        </p:nvSpPr>
        <p:spPr bwMode="auto">
          <a:xfrm>
            <a:off x="191375" y="4227373"/>
            <a:ext cx="4122884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87" name="Line 100"/>
          <p:cNvSpPr>
            <a:spLocks noChangeShapeType="1"/>
          </p:cNvSpPr>
          <p:nvPr/>
        </p:nvSpPr>
        <p:spPr bwMode="auto">
          <a:xfrm>
            <a:off x="4625420" y="1527891"/>
            <a:ext cx="4027979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88" name="Line 101"/>
          <p:cNvSpPr>
            <a:spLocks noChangeShapeType="1"/>
          </p:cNvSpPr>
          <p:nvPr/>
        </p:nvSpPr>
        <p:spPr bwMode="auto">
          <a:xfrm>
            <a:off x="4625420" y="1912198"/>
            <a:ext cx="4027979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89" name="Line 102"/>
          <p:cNvSpPr>
            <a:spLocks noChangeShapeType="1"/>
          </p:cNvSpPr>
          <p:nvPr/>
        </p:nvSpPr>
        <p:spPr bwMode="auto">
          <a:xfrm>
            <a:off x="4625420" y="2298060"/>
            <a:ext cx="4027979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90" name="Line 103"/>
          <p:cNvSpPr>
            <a:spLocks noChangeShapeType="1"/>
          </p:cNvSpPr>
          <p:nvPr/>
        </p:nvSpPr>
        <p:spPr bwMode="auto">
          <a:xfrm>
            <a:off x="4625420" y="2683923"/>
            <a:ext cx="4027979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91" name="Line 104"/>
          <p:cNvSpPr>
            <a:spLocks noChangeShapeType="1"/>
          </p:cNvSpPr>
          <p:nvPr/>
        </p:nvSpPr>
        <p:spPr bwMode="auto">
          <a:xfrm>
            <a:off x="4625420" y="3069785"/>
            <a:ext cx="4027979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92" name="Line 105"/>
          <p:cNvSpPr>
            <a:spLocks noChangeShapeType="1"/>
          </p:cNvSpPr>
          <p:nvPr/>
        </p:nvSpPr>
        <p:spPr bwMode="auto">
          <a:xfrm>
            <a:off x="4625420" y="3455648"/>
            <a:ext cx="4027979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93" name="Line 106"/>
          <p:cNvSpPr>
            <a:spLocks noChangeShapeType="1"/>
          </p:cNvSpPr>
          <p:nvPr/>
        </p:nvSpPr>
        <p:spPr bwMode="auto">
          <a:xfrm>
            <a:off x="4625420" y="3841510"/>
            <a:ext cx="4027979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94" name="Line 108"/>
          <p:cNvSpPr>
            <a:spLocks noChangeShapeType="1"/>
          </p:cNvSpPr>
          <p:nvPr/>
        </p:nvSpPr>
        <p:spPr bwMode="auto">
          <a:xfrm>
            <a:off x="4625420" y="4613235"/>
            <a:ext cx="4027979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95" name="Line 109"/>
          <p:cNvSpPr>
            <a:spLocks noChangeShapeType="1"/>
          </p:cNvSpPr>
          <p:nvPr/>
        </p:nvSpPr>
        <p:spPr bwMode="auto">
          <a:xfrm>
            <a:off x="4625420" y="4999098"/>
            <a:ext cx="4027979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96" name="Line 110"/>
          <p:cNvSpPr>
            <a:spLocks noChangeShapeType="1"/>
          </p:cNvSpPr>
          <p:nvPr/>
        </p:nvSpPr>
        <p:spPr bwMode="auto">
          <a:xfrm>
            <a:off x="4625420" y="5383404"/>
            <a:ext cx="4027979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97" name="Line 97"/>
          <p:cNvSpPr>
            <a:spLocks noChangeShapeType="1"/>
          </p:cNvSpPr>
          <p:nvPr/>
        </p:nvSpPr>
        <p:spPr bwMode="auto">
          <a:xfrm>
            <a:off x="191375" y="4999098"/>
            <a:ext cx="4122884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098" name="Rectangle 7"/>
          <p:cNvSpPr>
            <a:spLocks/>
          </p:cNvSpPr>
          <p:nvPr/>
        </p:nvSpPr>
        <p:spPr bwMode="auto">
          <a:xfrm>
            <a:off x="297968" y="1249386"/>
            <a:ext cx="7854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200">
                <a:latin typeface="Calibri" pitchFamily="34" charset="0"/>
                <a:sym typeface="Century Gothic" pitchFamily="34" charset="0"/>
              </a:rPr>
              <a:t>1</a:t>
            </a:r>
          </a:p>
        </p:txBody>
      </p:sp>
      <p:sp>
        <p:nvSpPr>
          <p:cNvPr id="3099" name="Rectangle 11"/>
          <p:cNvSpPr>
            <a:spLocks/>
          </p:cNvSpPr>
          <p:nvPr/>
        </p:nvSpPr>
        <p:spPr bwMode="auto">
          <a:xfrm>
            <a:off x="297968" y="1635258"/>
            <a:ext cx="7854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200">
                <a:latin typeface="Calibri" pitchFamily="34" charset="0"/>
                <a:sym typeface="Century Gothic" pitchFamily="34" charset="0"/>
              </a:rPr>
              <a:t>2</a:t>
            </a:r>
          </a:p>
        </p:txBody>
      </p:sp>
      <p:sp>
        <p:nvSpPr>
          <p:cNvPr id="3100" name="Rectangle 15"/>
          <p:cNvSpPr>
            <a:spLocks/>
          </p:cNvSpPr>
          <p:nvPr/>
        </p:nvSpPr>
        <p:spPr bwMode="auto">
          <a:xfrm>
            <a:off x="297968" y="2021111"/>
            <a:ext cx="7854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200">
                <a:latin typeface="Calibri" pitchFamily="34" charset="0"/>
                <a:sym typeface="Century Gothic" pitchFamily="34" charset="0"/>
              </a:rPr>
              <a:t>3</a:t>
            </a:r>
          </a:p>
        </p:txBody>
      </p:sp>
      <p:sp>
        <p:nvSpPr>
          <p:cNvPr id="3101" name="Rectangle 19"/>
          <p:cNvSpPr>
            <a:spLocks/>
          </p:cNvSpPr>
          <p:nvPr/>
        </p:nvSpPr>
        <p:spPr bwMode="auto">
          <a:xfrm>
            <a:off x="297968" y="2406982"/>
            <a:ext cx="7854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200">
                <a:latin typeface="Calibri" pitchFamily="34" charset="0"/>
                <a:sym typeface="Century Gothic" pitchFamily="34" charset="0"/>
              </a:rPr>
              <a:t>4</a:t>
            </a:r>
          </a:p>
        </p:txBody>
      </p:sp>
      <p:sp>
        <p:nvSpPr>
          <p:cNvPr id="3102" name="Rectangle 23"/>
          <p:cNvSpPr>
            <a:spLocks/>
          </p:cNvSpPr>
          <p:nvPr/>
        </p:nvSpPr>
        <p:spPr bwMode="auto">
          <a:xfrm>
            <a:off x="297968" y="2792836"/>
            <a:ext cx="7854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200">
                <a:latin typeface="Calibri" pitchFamily="34" charset="0"/>
                <a:sym typeface="Century Gothic" pitchFamily="34" charset="0"/>
              </a:rPr>
              <a:t>5</a:t>
            </a:r>
          </a:p>
        </p:txBody>
      </p:sp>
      <p:sp>
        <p:nvSpPr>
          <p:cNvPr id="3103" name="Rectangle 27"/>
          <p:cNvSpPr>
            <a:spLocks/>
          </p:cNvSpPr>
          <p:nvPr/>
        </p:nvSpPr>
        <p:spPr bwMode="auto">
          <a:xfrm>
            <a:off x="297968" y="3177142"/>
            <a:ext cx="7854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200">
                <a:latin typeface="Calibri" pitchFamily="34" charset="0"/>
                <a:sym typeface="Century Gothic" pitchFamily="34" charset="0"/>
              </a:rPr>
              <a:t>6</a:t>
            </a:r>
          </a:p>
        </p:txBody>
      </p:sp>
      <p:sp>
        <p:nvSpPr>
          <p:cNvPr id="25" name="Rectangle 31"/>
          <p:cNvSpPr>
            <a:spLocks/>
          </p:cNvSpPr>
          <p:nvPr/>
        </p:nvSpPr>
        <p:spPr bwMode="auto">
          <a:xfrm>
            <a:off x="206587" y="4720591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0</a:t>
            </a:r>
          </a:p>
        </p:txBody>
      </p:sp>
      <p:sp>
        <p:nvSpPr>
          <p:cNvPr id="3105" name="Rectangle 39"/>
          <p:cNvSpPr>
            <a:spLocks/>
          </p:cNvSpPr>
          <p:nvPr/>
        </p:nvSpPr>
        <p:spPr bwMode="auto">
          <a:xfrm>
            <a:off x="297968" y="3563012"/>
            <a:ext cx="7854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200">
                <a:latin typeface="Calibri" pitchFamily="34" charset="0"/>
                <a:sym typeface="Century Gothic" pitchFamily="34" charset="0"/>
              </a:rPr>
              <a:t>7</a:t>
            </a:r>
          </a:p>
        </p:txBody>
      </p:sp>
      <p:sp>
        <p:nvSpPr>
          <p:cNvPr id="34" name="Rectangle 43"/>
          <p:cNvSpPr>
            <a:spLocks/>
          </p:cNvSpPr>
          <p:nvPr/>
        </p:nvSpPr>
        <p:spPr bwMode="auto">
          <a:xfrm>
            <a:off x="206587" y="5492326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2</a:t>
            </a:r>
          </a:p>
        </p:txBody>
      </p:sp>
      <p:sp>
        <p:nvSpPr>
          <p:cNvPr id="3107" name="Rectangle 39"/>
          <p:cNvSpPr>
            <a:spLocks/>
          </p:cNvSpPr>
          <p:nvPr/>
        </p:nvSpPr>
        <p:spPr bwMode="auto">
          <a:xfrm>
            <a:off x="297968" y="3948867"/>
            <a:ext cx="7854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200">
                <a:latin typeface="Calibri" pitchFamily="34" charset="0"/>
                <a:sym typeface="Century Gothic" pitchFamily="34" charset="0"/>
              </a:rPr>
              <a:t>8</a:t>
            </a:r>
          </a:p>
        </p:txBody>
      </p:sp>
      <p:sp>
        <p:nvSpPr>
          <p:cNvPr id="3108" name="Rectangle 39"/>
          <p:cNvSpPr>
            <a:spLocks/>
          </p:cNvSpPr>
          <p:nvPr/>
        </p:nvSpPr>
        <p:spPr bwMode="auto">
          <a:xfrm>
            <a:off x="297968" y="4334732"/>
            <a:ext cx="7854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200">
                <a:latin typeface="Calibri" pitchFamily="34" charset="0"/>
                <a:sym typeface="Century Gothic" pitchFamily="34" charset="0"/>
              </a:rPr>
              <a:t>9</a:t>
            </a:r>
          </a:p>
        </p:txBody>
      </p:sp>
      <p:sp>
        <p:nvSpPr>
          <p:cNvPr id="122" name="Rectangle 31"/>
          <p:cNvSpPr>
            <a:spLocks/>
          </p:cNvSpPr>
          <p:nvPr/>
        </p:nvSpPr>
        <p:spPr bwMode="auto">
          <a:xfrm>
            <a:off x="218010" y="5106455"/>
            <a:ext cx="158505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1</a:t>
            </a:r>
          </a:p>
        </p:txBody>
      </p:sp>
      <p:sp>
        <p:nvSpPr>
          <p:cNvPr id="3110" name="Line 3"/>
          <p:cNvSpPr>
            <a:spLocks noChangeShapeType="1"/>
          </p:cNvSpPr>
          <p:nvPr/>
        </p:nvSpPr>
        <p:spPr bwMode="auto">
          <a:xfrm>
            <a:off x="191375" y="1179370"/>
            <a:ext cx="4122884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8" name="Rectangle 8"/>
          <p:cNvSpPr>
            <a:spLocks/>
          </p:cNvSpPr>
          <p:nvPr/>
        </p:nvSpPr>
        <p:spPr bwMode="auto">
          <a:xfrm>
            <a:off x="619220" y="1249386"/>
            <a:ext cx="37510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  <a:ea typeface="Century Gothic" charset="0"/>
                <a:cs typeface="Century Gothic" charset="0"/>
                <a:sym typeface="Century Gothic" charset="0"/>
              </a:rPr>
              <a:t>Leyte</a:t>
            </a:r>
          </a:p>
        </p:txBody>
      </p:sp>
      <p:sp>
        <p:nvSpPr>
          <p:cNvPr id="11" name="Rectangle 12"/>
          <p:cNvSpPr>
            <a:spLocks/>
          </p:cNvSpPr>
          <p:nvPr/>
        </p:nvSpPr>
        <p:spPr bwMode="auto">
          <a:xfrm>
            <a:off x="619220" y="1635258"/>
            <a:ext cx="37510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  <a:ea typeface="Century Gothic" charset="0"/>
                <a:cs typeface="Century Gothic" charset="0"/>
                <a:sym typeface="Century Gothic" charset="0"/>
              </a:rPr>
              <a:t>Leyte</a:t>
            </a:r>
          </a:p>
        </p:txBody>
      </p:sp>
      <p:sp>
        <p:nvSpPr>
          <p:cNvPr id="14" name="Rectangle 16"/>
          <p:cNvSpPr>
            <a:spLocks/>
          </p:cNvSpPr>
          <p:nvPr/>
        </p:nvSpPr>
        <p:spPr bwMode="auto">
          <a:xfrm>
            <a:off x="619220" y="2021111"/>
            <a:ext cx="37510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  <a:ea typeface="Century Gothic" charset="0"/>
                <a:cs typeface="Century Gothic" charset="0"/>
                <a:sym typeface="Century Gothic" charset="0"/>
              </a:rPr>
              <a:t>Leyte</a:t>
            </a:r>
          </a:p>
        </p:txBody>
      </p:sp>
      <p:sp>
        <p:nvSpPr>
          <p:cNvPr id="17" name="Rectangle 20"/>
          <p:cNvSpPr>
            <a:spLocks/>
          </p:cNvSpPr>
          <p:nvPr/>
        </p:nvSpPr>
        <p:spPr bwMode="auto">
          <a:xfrm>
            <a:off x="619220" y="2406982"/>
            <a:ext cx="37510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  <a:ea typeface="Century Gothic" charset="0"/>
                <a:cs typeface="Century Gothic" charset="0"/>
                <a:sym typeface="Century Gothic" charset="0"/>
              </a:rPr>
              <a:t>Leyte</a:t>
            </a:r>
          </a:p>
        </p:txBody>
      </p:sp>
      <p:sp>
        <p:nvSpPr>
          <p:cNvPr id="20" name="Rectangle 24"/>
          <p:cNvSpPr>
            <a:spLocks/>
          </p:cNvSpPr>
          <p:nvPr/>
        </p:nvSpPr>
        <p:spPr bwMode="auto">
          <a:xfrm>
            <a:off x="619220" y="2792836"/>
            <a:ext cx="37510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  <a:ea typeface="Century Gothic" charset="0"/>
                <a:cs typeface="Century Gothic" charset="0"/>
                <a:sym typeface="Century Gothic" charset="0"/>
              </a:rPr>
              <a:t>Leyte</a:t>
            </a:r>
          </a:p>
        </p:txBody>
      </p:sp>
      <p:sp>
        <p:nvSpPr>
          <p:cNvPr id="23" name="Rectangle 28"/>
          <p:cNvSpPr>
            <a:spLocks/>
          </p:cNvSpPr>
          <p:nvPr/>
        </p:nvSpPr>
        <p:spPr bwMode="auto">
          <a:xfrm>
            <a:off x="619220" y="3177142"/>
            <a:ext cx="37510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  <a:ea typeface="Century Gothic" charset="0"/>
                <a:cs typeface="Century Gothic" charset="0"/>
                <a:sym typeface="Century Gothic" charset="0"/>
              </a:rPr>
              <a:t>Leyte</a:t>
            </a:r>
          </a:p>
        </p:txBody>
      </p:sp>
      <p:sp>
        <p:nvSpPr>
          <p:cNvPr id="26" name="Rectangle 32"/>
          <p:cNvSpPr>
            <a:spLocks/>
          </p:cNvSpPr>
          <p:nvPr/>
        </p:nvSpPr>
        <p:spPr bwMode="auto">
          <a:xfrm>
            <a:off x="619210" y="4720591"/>
            <a:ext cx="424796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  <a:ea typeface="Century Gothic" charset="0"/>
                <a:cs typeface="Century Gothic" charset="0"/>
                <a:sym typeface="Century Gothic" charset="0"/>
              </a:rPr>
              <a:t>Biliran</a:t>
            </a:r>
          </a:p>
        </p:txBody>
      </p:sp>
      <p:sp>
        <p:nvSpPr>
          <p:cNvPr id="32" name="Rectangle 40"/>
          <p:cNvSpPr>
            <a:spLocks/>
          </p:cNvSpPr>
          <p:nvPr/>
        </p:nvSpPr>
        <p:spPr bwMode="auto">
          <a:xfrm>
            <a:off x="619220" y="3563012"/>
            <a:ext cx="37510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  <a:ea typeface="Century Gothic" charset="0"/>
                <a:cs typeface="Century Gothic" charset="0"/>
                <a:sym typeface="Century Gothic" charset="0"/>
              </a:rPr>
              <a:t>Leyte</a:t>
            </a:r>
          </a:p>
        </p:txBody>
      </p:sp>
      <p:sp>
        <p:nvSpPr>
          <p:cNvPr id="35" name="Rectangle 44"/>
          <p:cNvSpPr>
            <a:spLocks/>
          </p:cNvSpPr>
          <p:nvPr/>
        </p:nvSpPr>
        <p:spPr bwMode="auto">
          <a:xfrm>
            <a:off x="619221" y="5492326"/>
            <a:ext cx="641201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E. 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Samar</a:t>
            </a:r>
          </a:p>
        </p:txBody>
      </p:sp>
      <p:sp>
        <p:nvSpPr>
          <p:cNvPr id="113" name="Rectangle 40"/>
          <p:cNvSpPr>
            <a:spLocks/>
          </p:cNvSpPr>
          <p:nvPr/>
        </p:nvSpPr>
        <p:spPr bwMode="auto">
          <a:xfrm>
            <a:off x="619220" y="3948867"/>
            <a:ext cx="37510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  <a:ea typeface="Century Gothic" charset="0"/>
                <a:cs typeface="Century Gothic" charset="0"/>
                <a:sym typeface="Century Gothic" charset="0"/>
              </a:rPr>
              <a:t>Leyte</a:t>
            </a:r>
          </a:p>
        </p:txBody>
      </p:sp>
      <p:sp>
        <p:nvSpPr>
          <p:cNvPr id="118" name="Rectangle 40"/>
          <p:cNvSpPr>
            <a:spLocks/>
          </p:cNvSpPr>
          <p:nvPr/>
        </p:nvSpPr>
        <p:spPr bwMode="auto">
          <a:xfrm>
            <a:off x="619220" y="4334732"/>
            <a:ext cx="37510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>
                <a:latin typeface="+mn-lt"/>
                <a:ea typeface="Century Gothic" charset="0"/>
                <a:cs typeface="Century Gothic" charset="0"/>
                <a:sym typeface="Century Gothic" charset="0"/>
              </a:rPr>
              <a:t>Leyte</a:t>
            </a:r>
          </a:p>
        </p:txBody>
      </p:sp>
      <p:sp>
        <p:nvSpPr>
          <p:cNvPr id="123" name="Rectangle 32"/>
          <p:cNvSpPr>
            <a:spLocks/>
          </p:cNvSpPr>
          <p:nvPr/>
        </p:nvSpPr>
        <p:spPr bwMode="auto">
          <a:xfrm>
            <a:off x="619221" y="5106454"/>
            <a:ext cx="641201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E. 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Samar</a:t>
            </a:r>
          </a:p>
        </p:txBody>
      </p:sp>
      <p:sp>
        <p:nvSpPr>
          <p:cNvPr id="5" name="Rectangle 4"/>
          <p:cNvSpPr>
            <a:spLocks/>
          </p:cNvSpPr>
          <p:nvPr/>
        </p:nvSpPr>
        <p:spPr bwMode="auto">
          <a:xfrm>
            <a:off x="619221" y="946472"/>
            <a:ext cx="649217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1404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  <a:ea typeface="Century Gothic" charset="0"/>
                <a:cs typeface="Century Gothic" charset="0"/>
                <a:sym typeface="Century Gothic" charset="0"/>
              </a:rPr>
              <a:t>Province</a:t>
            </a:r>
          </a:p>
        </p:txBody>
      </p:sp>
      <p:sp>
        <p:nvSpPr>
          <p:cNvPr id="3" name="Rectangle 2"/>
          <p:cNvSpPr>
            <a:spLocks/>
          </p:cNvSpPr>
          <p:nvPr/>
        </p:nvSpPr>
        <p:spPr bwMode="auto">
          <a:xfrm>
            <a:off x="191365" y="946472"/>
            <a:ext cx="264496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1404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  <a:ea typeface="Century Gothic" charset="0"/>
                <a:cs typeface="Century Gothic" charset="0"/>
                <a:sym typeface="Century Gothic" charset="0"/>
              </a:rPr>
              <a:t>AID</a:t>
            </a:r>
          </a:p>
        </p:txBody>
      </p:sp>
      <p:sp>
        <p:nvSpPr>
          <p:cNvPr id="9" name="Rectangle 9"/>
          <p:cNvSpPr>
            <a:spLocks/>
          </p:cNvSpPr>
          <p:nvPr/>
        </p:nvSpPr>
        <p:spPr bwMode="auto">
          <a:xfrm>
            <a:off x="1453122" y="1249386"/>
            <a:ext cx="741165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  <a:ea typeface="Century Gothic" charset="0"/>
                <a:cs typeface="Century Gothic" charset="0"/>
                <a:sym typeface="Century Gothic" charset="0"/>
              </a:rPr>
              <a:t>Tacloban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1</a:t>
            </a:r>
          </a:p>
        </p:txBody>
      </p:sp>
      <p:sp>
        <p:nvSpPr>
          <p:cNvPr id="12" name="Rectangle 13"/>
          <p:cNvSpPr>
            <a:spLocks/>
          </p:cNvSpPr>
          <p:nvPr/>
        </p:nvSpPr>
        <p:spPr bwMode="auto">
          <a:xfrm>
            <a:off x="1453122" y="1635258"/>
            <a:ext cx="741165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  <a:ea typeface="Century Gothic" charset="0"/>
                <a:cs typeface="Century Gothic" charset="0"/>
                <a:sym typeface="Century Gothic" charset="0"/>
              </a:rPr>
              <a:t>Tacloban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2</a:t>
            </a:r>
          </a:p>
        </p:txBody>
      </p:sp>
      <p:sp>
        <p:nvSpPr>
          <p:cNvPr id="15" name="Rectangle 17"/>
          <p:cNvSpPr>
            <a:spLocks/>
          </p:cNvSpPr>
          <p:nvPr/>
        </p:nvSpPr>
        <p:spPr bwMode="auto">
          <a:xfrm>
            <a:off x="1453122" y="2021111"/>
            <a:ext cx="306174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Palo</a:t>
            </a:r>
          </a:p>
        </p:txBody>
      </p:sp>
      <p:sp>
        <p:nvSpPr>
          <p:cNvPr id="18" name="Rectangle 21"/>
          <p:cNvSpPr>
            <a:spLocks/>
          </p:cNvSpPr>
          <p:nvPr/>
        </p:nvSpPr>
        <p:spPr bwMode="auto">
          <a:xfrm>
            <a:off x="1453129" y="2406982"/>
            <a:ext cx="1208664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Rest of 1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st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21" name="Rectangle 25"/>
          <p:cNvSpPr>
            <a:spLocks/>
          </p:cNvSpPr>
          <p:nvPr/>
        </p:nvSpPr>
        <p:spPr bwMode="auto">
          <a:xfrm>
            <a:off x="1453132" y="2803737"/>
            <a:ext cx="713337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2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nd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24" name="Rectangle 29"/>
          <p:cNvSpPr>
            <a:spLocks/>
          </p:cNvSpPr>
          <p:nvPr/>
        </p:nvSpPr>
        <p:spPr bwMode="auto">
          <a:xfrm>
            <a:off x="1453132" y="3177142"/>
            <a:ext cx="689291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3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rd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27" name="Rectangle 33"/>
          <p:cNvSpPr>
            <a:spLocks/>
          </p:cNvSpPr>
          <p:nvPr/>
        </p:nvSpPr>
        <p:spPr bwMode="auto">
          <a:xfrm>
            <a:off x="1453122" y="4720591"/>
            <a:ext cx="85279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Lone District</a:t>
            </a:r>
          </a:p>
        </p:txBody>
      </p:sp>
      <p:sp>
        <p:nvSpPr>
          <p:cNvPr id="33" name="Rectangle 41"/>
          <p:cNvSpPr>
            <a:spLocks/>
          </p:cNvSpPr>
          <p:nvPr/>
        </p:nvSpPr>
        <p:spPr bwMode="auto">
          <a:xfrm>
            <a:off x="1453122" y="3563012"/>
            <a:ext cx="1117294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  <a:ea typeface="Century Gothic" charset="0"/>
                <a:cs typeface="Century Gothic" charset="0"/>
                <a:sym typeface="Century Gothic" charset="0"/>
              </a:rPr>
              <a:t>Ormoc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/Kananga</a:t>
            </a:r>
          </a:p>
        </p:txBody>
      </p:sp>
      <p:sp>
        <p:nvSpPr>
          <p:cNvPr id="114" name="Rectangle 41"/>
          <p:cNvSpPr>
            <a:spLocks/>
          </p:cNvSpPr>
          <p:nvPr/>
        </p:nvSpPr>
        <p:spPr bwMode="auto">
          <a:xfrm>
            <a:off x="1453123" y="3948867"/>
            <a:ext cx="1215076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Rest of 4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th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119" name="Rectangle 41"/>
          <p:cNvSpPr>
            <a:spLocks/>
          </p:cNvSpPr>
          <p:nvPr/>
        </p:nvSpPr>
        <p:spPr bwMode="auto">
          <a:xfrm>
            <a:off x="1453132" y="4334732"/>
            <a:ext cx="68448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5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th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124" name="Rectangle 33"/>
          <p:cNvSpPr>
            <a:spLocks/>
          </p:cNvSpPr>
          <p:nvPr/>
        </p:nvSpPr>
        <p:spPr bwMode="auto">
          <a:xfrm>
            <a:off x="1453122" y="5106454"/>
            <a:ext cx="1090042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  <a:ea typeface="Century Gothic" charset="0"/>
                <a:cs typeface="Century Gothic" charset="0"/>
                <a:sym typeface="Century Gothic" charset="0"/>
              </a:rPr>
              <a:t>Guiuan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/</a:t>
            </a:r>
            <a:r>
              <a:rPr lang="en-US" dirty="0" err="1">
                <a:latin typeface="+mn-lt"/>
                <a:ea typeface="Century Gothic" charset="0"/>
                <a:cs typeface="Century Gothic" charset="0"/>
                <a:sym typeface="Century Gothic" charset="0"/>
              </a:rPr>
              <a:t>Salcedo</a:t>
            </a:r>
            <a:endParaRPr lang="en-US" dirty="0">
              <a:latin typeface="+mn-lt"/>
              <a:ea typeface="Century Gothic" charset="0"/>
              <a:cs typeface="Century Gothic" charset="0"/>
              <a:sym typeface="Century Gothic" charset="0"/>
            </a:endParaRPr>
          </a:p>
        </p:txBody>
      </p:sp>
      <p:sp>
        <p:nvSpPr>
          <p:cNvPr id="6" name="Rectangle 5"/>
          <p:cNvSpPr>
            <a:spLocks/>
          </p:cNvSpPr>
          <p:nvPr/>
        </p:nvSpPr>
        <p:spPr bwMode="auto">
          <a:xfrm>
            <a:off x="1453122" y="946472"/>
            <a:ext cx="528991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1404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  <a:ea typeface="Century Gothic" charset="0"/>
                <a:cs typeface="Century Gothic" charset="0"/>
                <a:sym typeface="Century Gothic" charset="0"/>
              </a:rPr>
              <a:t>District</a:t>
            </a:r>
          </a:p>
        </p:txBody>
      </p:sp>
      <p:sp>
        <p:nvSpPr>
          <p:cNvPr id="36" name="Rectangle 45"/>
          <p:cNvSpPr>
            <a:spLocks/>
          </p:cNvSpPr>
          <p:nvPr/>
        </p:nvSpPr>
        <p:spPr bwMode="auto">
          <a:xfrm>
            <a:off x="1453123" y="5492326"/>
            <a:ext cx="1383392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Rest of Lone District</a:t>
            </a:r>
          </a:p>
        </p:txBody>
      </p:sp>
      <p:sp>
        <p:nvSpPr>
          <p:cNvPr id="108" name="Rectangle 107"/>
          <p:cNvSpPr>
            <a:spLocks/>
          </p:cNvSpPr>
          <p:nvPr/>
        </p:nvSpPr>
        <p:spPr bwMode="auto">
          <a:xfrm>
            <a:off x="2567475" y="946472"/>
            <a:ext cx="1633460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1404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chemeClr val="tx2"/>
                </a:solidFill>
                <a:latin typeface="+mn-lt"/>
                <a:ea typeface="Century Gothic" charset="0"/>
                <a:cs typeface="Century Gothic" charset="0"/>
                <a:sym typeface="Century Gothic" charset="0"/>
              </a:rPr>
              <a:t>Development Sponsor</a:t>
            </a:r>
            <a:endParaRPr lang="en-US" b="1" dirty="0">
              <a:solidFill>
                <a:schemeClr val="tx2"/>
              </a:solidFill>
              <a:latin typeface="+mn-lt"/>
              <a:ea typeface="Century Gothic" charset="0"/>
              <a:cs typeface="Century Gothic" charset="0"/>
              <a:sym typeface="Century Gothic" charset="0"/>
            </a:endParaRPr>
          </a:p>
        </p:txBody>
      </p:sp>
      <p:sp>
        <p:nvSpPr>
          <p:cNvPr id="3139" name="Line 108"/>
          <p:cNvSpPr>
            <a:spLocks noChangeShapeType="1"/>
          </p:cNvSpPr>
          <p:nvPr/>
        </p:nvSpPr>
        <p:spPr bwMode="auto">
          <a:xfrm>
            <a:off x="4625420" y="4227373"/>
            <a:ext cx="4027979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3140" name="Line 3"/>
          <p:cNvSpPr>
            <a:spLocks noChangeShapeType="1"/>
          </p:cNvSpPr>
          <p:nvPr/>
        </p:nvSpPr>
        <p:spPr bwMode="auto">
          <a:xfrm>
            <a:off x="4625420" y="1179370"/>
            <a:ext cx="4027979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sp>
        <p:nvSpPr>
          <p:cNvPr id="29" name="Rectangle 36"/>
          <p:cNvSpPr>
            <a:spLocks/>
          </p:cNvSpPr>
          <p:nvPr/>
        </p:nvSpPr>
        <p:spPr bwMode="auto">
          <a:xfrm>
            <a:off x="5017473" y="1249386"/>
            <a:ext cx="452047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Samar</a:t>
            </a:r>
          </a:p>
        </p:txBody>
      </p:sp>
      <p:sp>
        <p:nvSpPr>
          <p:cNvPr id="38" name="Rectangle 48"/>
          <p:cNvSpPr>
            <a:spLocks/>
          </p:cNvSpPr>
          <p:nvPr/>
        </p:nvSpPr>
        <p:spPr bwMode="auto">
          <a:xfrm>
            <a:off x="5017483" y="1635258"/>
            <a:ext cx="365485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Cebu</a:t>
            </a:r>
          </a:p>
        </p:txBody>
      </p:sp>
      <p:sp>
        <p:nvSpPr>
          <p:cNvPr id="41" name="Rectangle 52"/>
          <p:cNvSpPr>
            <a:spLocks/>
          </p:cNvSpPr>
          <p:nvPr/>
        </p:nvSpPr>
        <p:spPr bwMode="auto">
          <a:xfrm>
            <a:off x="5017483" y="2021111"/>
            <a:ext cx="365485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Cebu</a:t>
            </a:r>
          </a:p>
        </p:txBody>
      </p:sp>
      <p:sp>
        <p:nvSpPr>
          <p:cNvPr id="44" name="Rectangle 56"/>
          <p:cNvSpPr>
            <a:spLocks/>
          </p:cNvSpPr>
          <p:nvPr/>
        </p:nvSpPr>
        <p:spPr bwMode="auto">
          <a:xfrm>
            <a:off x="5017482" y="2406982"/>
            <a:ext cx="854401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Negros </a:t>
            </a:r>
            <a:r>
              <a:rPr lang="en-US" dirty="0" smtClean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Occ.</a:t>
            </a:r>
            <a:endParaRPr lang="en-US" dirty="0">
              <a:latin typeface="+mn-lt"/>
              <a:ea typeface="Century Gothic" charset="0"/>
              <a:cs typeface="Century Gothic" charset="0"/>
              <a:sym typeface="Century Gothic" charset="0"/>
            </a:endParaRPr>
          </a:p>
        </p:txBody>
      </p:sp>
      <p:sp>
        <p:nvSpPr>
          <p:cNvPr id="47" name="Rectangle 60"/>
          <p:cNvSpPr>
            <a:spLocks/>
          </p:cNvSpPr>
          <p:nvPr/>
        </p:nvSpPr>
        <p:spPr bwMode="auto">
          <a:xfrm>
            <a:off x="5017482" y="2792836"/>
            <a:ext cx="3831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  <a:ea typeface="Century Gothic" charset="0"/>
                <a:cs typeface="Century Gothic" charset="0"/>
                <a:sym typeface="Century Gothic" charset="0"/>
              </a:rPr>
              <a:t>Aklan</a:t>
            </a:r>
            <a:endParaRPr lang="en-US" dirty="0">
              <a:latin typeface="+mn-lt"/>
              <a:ea typeface="Century Gothic" charset="0"/>
              <a:cs typeface="Century Gothic" charset="0"/>
              <a:sym typeface="Century Gothic" charset="0"/>
            </a:endParaRPr>
          </a:p>
        </p:txBody>
      </p:sp>
      <p:sp>
        <p:nvSpPr>
          <p:cNvPr id="50" name="Rectangle 64"/>
          <p:cNvSpPr>
            <a:spLocks/>
          </p:cNvSpPr>
          <p:nvPr/>
        </p:nvSpPr>
        <p:spPr bwMode="auto">
          <a:xfrm>
            <a:off x="5017473" y="3177142"/>
            <a:ext cx="51937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Antique</a:t>
            </a:r>
          </a:p>
        </p:txBody>
      </p:sp>
      <p:sp>
        <p:nvSpPr>
          <p:cNvPr id="53" name="Rectangle 68"/>
          <p:cNvSpPr>
            <a:spLocks/>
          </p:cNvSpPr>
          <p:nvPr/>
        </p:nvSpPr>
        <p:spPr bwMode="auto">
          <a:xfrm>
            <a:off x="5017483" y="3948867"/>
            <a:ext cx="39113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  <a:ea typeface="Century Gothic" charset="0"/>
                <a:cs typeface="Century Gothic" charset="0"/>
                <a:sym typeface="Century Gothic" charset="0"/>
              </a:rPr>
              <a:t>Capiz</a:t>
            </a:r>
            <a:endParaRPr lang="en-US" dirty="0">
              <a:latin typeface="+mn-lt"/>
              <a:ea typeface="Century Gothic" charset="0"/>
              <a:cs typeface="Century Gothic" charset="0"/>
              <a:sym typeface="Century Gothic" charset="0"/>
            </a:endParaRPr>
          </a:p>
        </p:txBody>
      </p:sp>
      <p:sp>
        <p:nvSpPr>
          <p:cNvPr id="56" name="Rectangle 72"/>
          <p:cNvSpPr>
            <a:spLocks/>
          </p:cNvSpPr>
          <p:nvPr/>
        </p:nvSpPr>
        <p:spPr bwMode="auto">
          <a:xfrm>
            <a:off x="5017483" y="3563012"/>
            <a:ext cx="39113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latin typeface="+mn-lt"/>
                <a:ea typeface="Century Gothic" charset="0"/>
                <a:cs typeface="Century Gothic" charset="0"/>
                <a:sym typeface="Century Gothic" charset="0"/>
              </a:rPr>
              <a:t>Capiz</a:t>
            </a:r>
            <a:endParaRPr lang="en-US" dirty="0">
              <a:latin typeface="+mn-lt"/>
              <a:ea typeface="Century Gothic" charset="0"/>
              <a:cs typeface="Century Gothic" charset="0"/>
              <a:sym typeface="Century Gothic" charset="0"/>
            </a:endParaRPr>
          </a:p>
        </p:txBody>
      </p:sp>
      <p:sp>
        <p:nvSpPr>
          <p:cNvPr id="59" name="Rectangle 76"/>
          <p:cNvSpPr>
            <a:spLocks/>
          </p:cNvSpPr>
          <p:nvPr/>
        </p:nvSpPr>
        <p:spPr bwMode="auto">
          <a:xfrm>
            <a:off x="5017473" y="4334732"/>
            <a:ext cx="314189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Iloilo</a:t>
            </a:r>
          </a:p>
        </p:txBody>
      </p:sp>
      <p:sp>
        <p:nvSpPr>
          <p:cNvPr id="62" name="Rectangle 80"/>
          <p:cNvSpPr>
            <a:spLocks/>
          </p:cNvSpPr>
          <p:nvPr/>
        </p:nvSpPr>
        <p:spPr bwMode="auto">
          <a:xfrm>
            <a:off x="5017473" y="4720591"/>
            <a:ext cx="314189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Iloilo</a:t>
            </a:r>
          </a:p>
        </p:txBody>
      </p:sp>
      <p:sp>
        <p:nvSpPr>
          <p:cNvPr id="65" name="Rectangle 84"/>
          <p:cNvSpPr>
            <a:spLocks/>
          </p:cNvSpPr>
          <p:nvPr/>
        </p:nvSpPr>
        <p:spPr bwMode="auto">
          <a:xfrm>
            <a:off x="5017473" y="5106454"/>
            <a:ext cx="314189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Iloilo</a:t>
            </a:r>
          </a:p>
        </p:txBody>
      </p:sp>
      <p:sp>
        <p:nvSpPr>
          <p:cNvPr id="68" name="Rectangle 88"/>
          <p:cNvSpPr>
            <a:spLocks/>
          </p:cNvSpPr>
          <p:nvPr/>
        </p:nvSpPr>
        <p:spPr bwMode="auto">
          <a:xfrm>
            <a:off x="5017483" y="5492326"/>
            <a:ext cx="586699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Palawan</a:t>
            </a:r>
          </a:p>
        </p:txBody>
      </p:sp>
      <p:sp>
        <p:nvSpPr>
          <p:cNvPr id="152" name="Rectangle 151"/>
          <p:cNvSpPr>
            <a:spLocks/>
          </p:cNvSpPr>
          <p:nvPr/>
        </p:nvSpPr>
        <p:spPr bwMode="auto">
          <a:xfrm>
            <a:off x="5017482" y="946472"/>
            <a:ext cx="649217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1404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  <a:ea typeface="Century Gothic" charset="0"/>
                <a:cs typeface="Century Gothic" charset="0"/>
                <a:sym typeface="Century Gothic" charset="0"/>
              </a:rPr>
              <a:t>Province</a:t>
            </a:r>
          </a:p>
        </p:txBody>
      </p:sp>
      <p:sp>
        <p:nvSpPr>
          <p:cNvPr id="30" name="Rectangle 37"/>
          <p:cNvSpPr>
            <a:spLocks/>
          </p:cNvSpPr>
          <p:nvPr/>
        </p:nvSpPr>
        <p:spPr bwMode="auto">
          <a:xfrm>
            <a:off x="5940075" y="1249386"/>
            <a:ext cx="713337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2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nd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39" name="Rectangle 49"/>
          <p:cNvSpPr>
            <a:spLocks/>
          </p:cNvSpPr>
          <p:nvPr/>
        </p:nvSpPr>
        <p:spPr bwMode="auto">
          <a:xfrm>
            <a:off x="5940065" y="1635258"/>
            <a:ext cx="1279196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3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rd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and 5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th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s</a:t>
            </a:r>
          </a:p>
        </p:txBody>
      </p:sp>
      <p:sp>
        <p:nvSpPr>
          <p:cNvPr id="42" name="Rectangle 53"/>
          <p:cNvSpPr>
            <a:spLocks/>
          </p:cNvSpPr>
          <p:nvPr/>
        </p:nvSpPr>
        <p:spPr bwMode="auto">
          <a:xfrm>
            <a:off x="5940074" y="2021111"/>
            <a:ext cx="68448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4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th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45" name="Rectangle 57"/>
          <p:cNvSpPr>
            <a:spLocks/>
          </p:cNvSpPr>
          <p:nvPr/>
        </p:nvSpPr>
        <p:spPr bwMode="auto">
          <a:xfrm>
            <a:off x="5940074" y="2406982"/>
            <a:ext cx="1407437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st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, 2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nd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&amp; 3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rd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s</a:t>
            </a:r>
          </a:p>
        </p:txBody>
      </p:sp>
      <p:sp>
        <p:nvSpPr>
          <p:cNvPr id="48" name="Rectangle 61"/>
          <p:cNvSpPr>
            <a:spLocks/>
          </p:cNvSpPr>
          <p:nvPr/>
        </p:nvSpPr>
        <p:spPr bwMode="auto">
          <a:xfrm>
            <a:off x="5940074" y="2792836"/>
            <a:ext cx="85279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Lone District</a:t>
            </a:r>
          </a:p>
        </p:txBody>
      </p:sp>
      <p:sp>
        <p:nvSpPr>
          <p:cNvPr id="51" name="Rectangle 65"/>
          <p:cNvSpPr>
            <a:spLocks/>
          </p:cNvSpPr>
          <p:nvPr/>
        </p:nvSpPr>
        <p:spPr bwMode="auto">
          <a:xfrm>
            <a:off x="5940074" y="3177142"/>
            <a:ext cx="85279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Lone District</a:t>
            </a:r>
          </a:p>
        </p:txBody>
      </p:sp>
      <p:sp>
        <p:nvSpPr>
          <p:cNvPr id="54" name="Rectangle 69"/>
          <p:cNvSpPr>
            <a:spLocks/>
          </p:cNvSpPr>
          <p:nvPr/>
        </p:nvSpPr>
        <p:spPr bwMode="auto">
          <a:xfrm>
            <a:off x="5940075" y="3948867"/>
            <a:ext cx="713337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2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nd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57" name="Rectangle 73"/>
          <p:cNvSpPr>
            <a:spLocks/>
          </p:cNvSpPr>
          <p:nvPr/>
        </p:nvSpPr>
        <p:spPr bwMode="auto">
          <a:xfrm>
            <a:off x="5940075" y="3563012"/>
            <a:ext cx="678071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st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60" name="Rectangle 77"/>
          <p:cNvSpPr>
            <a:spLocks/>
          </p:cNvSpPr>
          <p:nvPr/>
        </p:nvSpPr>
        <p:spPr bwMode="auto">
          <a:xfrm>
            <a:off x="5940065" y="4334732"/>
            <a:ext cx="1231106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2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nd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and 3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rd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63" name="Rectangle 81"/>
          <p:cNvSpPr>
            <a:spLocks/>
          </p:cNvSpPr>
          <p:nvPr/>
        </p:nvSpPr>
        <p:spPr bwMode="auto">
          <a:xfrm>
            <a:off x="5940074" y="4720591"/>
            <a:ext cx="68448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4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th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66" name="Rectangle 85"/>
          <p:cNvSpPr>
            <a:spLocks/>
          </p:cNvSpPr>
          <p:nvPr/>
        </p:nvSpPr>
        <p:spPr bwMode="auto">
          <a:xfrm>
            <a:off x="5940074" y="5106454"/>
            <a:ext cx="684483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5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th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69" name="Rectangle 89"/>
          <p:cNvSpPr>
            <a:spLocks/>
          </p:cNvSpPr>
          <p:nvPr/>
        </p:nvSpPr>
        <p:spPr bwMode="auto">
          <a:xfrm>
            <a:off x="5940075" y="5492326"/>
            <a:ext cx="678071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</a:t>
            </a:r>
            <a:r>
              <a:rPr lang="en-US" baseline="30000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st</a:t>
            </a: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District</a:t>
            </a:r>
          </a:p>
        </p:txBody>
      </p:sp>
      <p:sp>
        <p:nvSpPr>
          <p:cNvPr id="153" name="Rectangle 152"/>
          <p:cNvSpPr>
            <a:spLocks/>
          </p:cNvSpPr>
          <p:nvPr/>
        </p:nvSpPr>
        <p:spPr bwMode="auto">
          <a:xfrm>
            <a:off x="5940064" y="946472"/>
            <a:ext cx="528991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1404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  <a:ea typeface="Century Gothic" charset="0"/>
                <a:cs typeface="Century Gothic" charset="0"/>
                <a:sym typeface="Century Gothic" charset="0"/>
              </a:rPr>
              <a:t>District</a:t>
            </a:r>
          </a:p>
        </p:txBody>
      </p:sp>
      <p:sp>
        <p:nvSpPr>
          <p:cNvPr id="28" name="Rectangle 35"/>
          <p:cNvSpPr>
            <a:spLocks/>
          </p:cNvSpPr>
          <p:nvPr/>
        </p:nvSpPr>
        <p:spPr bwMode="auto">
          <a:xfrm>
            <a:off x="4640632" y="1249386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3</a:t>
            </a:r>
          </a:p>
        </p:txBody>
      </p:sp>
      <p:sp>
        <p:nvSpPr>
          <p:cNvPr id="37" name="Rectangle 47"/>
          <p:cNvSpPr>
            <a:spLocks/>
          </p:cNvSpPr>
          <p:nvPr/>
        </p:nvSpPr>
        <p:spPr bwMode="auto">
          <a:xfrm>
            <a:off x="4640632" y="1635258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4</a:t>
            </a:r>
          </a:p>
        </p:txBody>
      </p:sp>
      <p:sp>
        <p:nvSpPr>
          <p:cNvPr id="40" name="Rectangle 51"/>
          <p:cNvSpPr>
            <a:spLocks/>
          </p:cNvSpPr>
          <p:nvPr/>
        </p:nvSpPr>
        <p:spPr bwMode="auto">
          <a:xfrm>
            <a:off x="4640632" y="2021111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5</a:t>
            </a:r>
          </a:p>
        </p:txBody>
      </p:sp>
      <p:sp>
        <p:nvSpPr>
          <p:cNvPr id="43" name="Rectangle 55"/>
          <p:cNvSpPr>
            <a:spLocks/>
          </p:cNvSpPr>
          <p:nvPr/>
        </p:nvSpPr>
        <p:spPr bwMode="auto">
          <a:xfrm>
            <a:off x="4640632" y="2406982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6</a:t>
            </a:r>
          </a:p>
        </p:txBody>
      </p:sp>
      <p:sp>
        <p:nvSpPr>
          <p:cNvPr id="46" name="Rectangle 59"/>
          <p:cNvSpPr>
            <a:spLocks/>
          </p:cNvSpPr>
          <p:nvPr/>
        </p:nvSpPr>
        <p:spPr bwMode="auto">
          <a:xfrm>
            <a:off x="4640632" y="2792836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7</a:t>
            </a:r>
          </a:p>
        </p:txBody>
      </p:sp>
      <p:sp>
        <p:nvSpPr>
          <p:cNvPr id="49" name="Rectangle 63"/>
          <p:cNvSpPr>
            <a:spLocks/>
          </p:cNvSpPr>
          <p:nvPr/>
        </p:nvSpPr>
        <p:spPr bwMode="auto">
          <a:xfrm>
            <a:off x="4640632" y="3177142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8</a:t>
            </a:r>
          </a:p>
        </p:txBody>
      </p:sp>
      <p:sp>
        <p:nvSpPr>
          <p:cNvPr id="52" name="Rectangle 67"/>
          <p:cNvSpPr>
            <a:spLocks/>
          </p:cNvSpPr>
          <p:nvPr/>
        </p:nvSpPr>
        <p:spPr bwMode="auto">
          <a:xfrm>
            <a:off x="4640632" y="3948867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20</a:t>
            </a:r>
          </a:p>
        </p:txBody>
      </p:sp>
      <p:sp>
        <p:nvSpPr>
          <p:cNvPr id="55" name="Rectangle 71"/>
          <p:cNvSpPr>
            <a:spLocks/>
          </p:cNvSpPr>
          <p:nvPr/>
        </p:nvSpPr>
        <p:spPr bwMode="auto">
          <a:xfrm>
            <a:off x="4640632" y="3563012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19</a:t>
            </a:r>
          </a:p>
        </p:txBody>
      </p:sp>
      <p:sp>
        <p:nvSpPr>
          <p:cNvPr id="58" name="Rectangle 75"/>
          <p:cNvSpPr>
            <a:spLocks/>
          </p:cNvSpPr>
          <p:nvPr/>
        </p:nvSpPr>
        <p:spPr bwMode="auto">
          <a:xfrm>
            <a:off x="4640632" y="4334732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21</a:t>
            </a:r>
          </a:p>
        </p:txBody>
      </p:sp>
      <p:sp>
        <p:nvSpPr>
          <p:cNvPr id="61" name="Rectangle 79"/>
          <p:cNvSpPr>
            <a:spLocks/>
          </p:cNvSpPr>
          <p:nvPr/>
        </p:nvSpPr>
        <p:spPr bwMode="auto">
          <a:xfrm>
            <a:off x="4640632" y="4720591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22</a:t>
            </a:r>
          </a:p>
        </p:txBody>
      </p:sp>
      <p:sp>
        <p:nvSpPr>
          <p:cNvPr id="64" name="Rectangle 83"/>
          <p:cNvSpPr>
            <a:spLocks/>
          </p:cNvSpPr>
          <p:nvPr/>
        </p:nvSpPr>
        <p:spPr bwMode="auto">
          <a:xfrm>
            <a:off x="4640632" y="5106454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23</a:t>
            </a:r>
          </a:p>
        </p:txBody>
      </p:sp>
      <p:sp>
        <p:nvSpPr>
          <p:cNvPr id="67" name="Rectangle 87"/>
          <p:cNvSpPr>
            <a:spLocks/>
          </p:cNvSpPr>
          <p:nvPr/>
        </p:nvSpPr>
        <p:spPr bwMode="auto">
          <a:xfrm>
            <a:off x="4640632" y="5492326"/>
            <a:ext cx="169918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24</a:t>
            </a:r>
          </a:p>
        </p:txBody>
      </p:sp>
      <p:sp>
        <p:nvSpPr>
          <p:cNvPr id="154" name="Rectangle 153"/>
          <p:cNvSpPr>
            <a:spLocks/>
          </p:cNvSpPr>
          <p:nvPr/>
        </p:nvSpPr>
        <p:spPr bwMode="auto">
          <a:xfrm>
            <a:off x="4625410" y="946472"/>
            <a:ext cx="264496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1404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  <a:ea typeface="Century Gothic" charset="0"/>
                <a:cs typeface="Century Gothic" charset="0"/>
                <a:sym typeface="Century Gothic" charset="0"/>
              </a:rPr>
              <a:t>AID</a:t>
            </a:r>
          </a:p>
        </p:txBody>
      </p:sp>
      <p:sp>
        <p:nvSpPr>
          <p:cNvPr id="155" name="Rectangle 154"/>
          <p:cNvSpPr>
            <a:spLocks/>
          </p:cNvSpPr>
          <p:nvPr/>
        </p:nvSpPr>
        <p:spPr bwMode="auto">
          <a:xfrm>
            <a:off x="7025013" y="946472"/>
            <a:ext cx="1633460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b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1404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2"/>
                </a:solidFill>
                <a:latin typeface="+mn-lt"/>
                <a:ea typeface="Century Gothic" charset="0"/>
                <a:cs typeface="Century Gothic" charset="0"/>
                <a:sym typeface="Century Gothic" charset="0"/>
              </a:rPr>
              <a:t>Development Sponsor</a:t>
            </a:r>
          </a:p>
        </p:txBody>
      </p:sp>
      <p:pic>
        <p:nvPicPr>
          <p:cNvPr id="3182" name="Picture 3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54485" y="5055110"/>
            <a:ext cx="802795" cy="30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84" name="Picture 32"/>
          <p:cNvPicPr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11192" y="3510103"/>
            <a:ext cx="712559" cy="230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87" name="Line 92"/>
          <p:cNvSpPr>
            <a:spLocks noChangeShapeType="1"/>
          </p:cNvSpPr>
          <p:nvPr/>
        </p:nvSpPr>
        <p:spPr bwMode="auto">
          <a:xfrm>
            <a:off x="191375" y="1534114"/>
            <a:ext cx="4122884" cy="0"/>
          </a:xfrm>
          <a:prstGeom prst="line">
            <a:avLst/>
          </a:prstGeom>
          <a:noFill/>
          <a:ln w="12700">
            <a:solidFill>
              <a:srgbClr val="80808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PH"/>
          </a:p>
        </p:txBody>
      </p:sp>
      <p:pic>
        <p:nvPicPr>
          <p:cNvPr id="3189" name="Picture 7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763120" y="1568354"/>
            <a:ext cx="860361" cy="202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90" name="Picture 74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984034" y="2375865"/>
            <a:ext cx="1145073" cy="256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93" name="Picture 3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65193" y="1946438"/>
            <a:ext cx="899255" cy="289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95" name="Picture 29"/>
          <p:cNvPicPr>
            <a:picLocks noChangeArrowheads="1"/>
          </p:cNvPicPr>
          <p:nvPr/>
        </p:nvPicPr>
        <p:blipFill>
          <a:blip r:embed="rId10" cstate="print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6963" y="3524118"/>
            <a:ext cx="636325" cy="264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96" name="Picture 86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65305" y="3519439"/>
            <a:ext cx="588094" cy="273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97" name="Picture 29"/>
          <p:cNvPicPr>
            <a:picLocks noChangeArrowheads="1"/>
          </p:cNvPicPr>
          <p:nvPr/>
        </p:nvPicPr>
        <p:blipFill>
          <a:blip r:embed="rId10" cstate="print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6963" y="3864859"/>
            <a:ext cx="636325" cy="264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98" name="Picture 86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65305" y="3860181"/>
            <a:ext cx="588094" cy="273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99" name="Picture 9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613753" y="3510114"/>
            <a:ext cx="546088" cy="31895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3200" name="Picture 9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965365" y="2715041"/>
            <a:ext cx="546088" cy="31895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130" name="Picture 129" descr="https://encrypted-tbn0.gstatic.com/images?q=tbn:ANd9GcTJQ-7TgVS1P9BBCZQjuahwEcQEoDuuOoHTJ2I93nyS55AIun9c"/>
          <p:cNvPicPr/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467865" y="4630350"/>
            <a:ext cx="568802" cy="38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1" name="Picture 130" descr="https://encrypted-tbn0.gstatic.com/images?q=tbn:ANd9GcSwHFkb3aV-dEa0yZa3KzUISD3iBibe1Iut7V4TYJxoBYictvEu"/>
          <p:cNvPicPr/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061825" y="3883519"/>
            <a:ext cx="659282" cy="373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4" name="Picture 29"/>
          <p:cNvPicPr>
            <a:picLocks noChangeArrowheads="1"/>
          </p:cNvPicPr>
          <p:nvPr/>
        </p:nvPicPr>
        <p:blipFill>
          <a:blip r:embed="rId10" cstate="print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64395" y="1194936"/>
            <a:ext cx="636325" cy="264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5" name="Picture 86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136514" y="1194929"/>
            <a:ext cx="588094" cy="273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6" name="Picture 135" descr="http://disinioyspeak.files.wordpress.com/2011/07/viscal.jpg"/>
          <p:cNvPicPr/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542544" y="1568355"/>
            <a:ext cx="604734" cy="342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7" name="Picture 136" descr="http://www.objectifgard.com/wp-content/uploads/2012/10/secours_pop-999c5.gif"/>
          <p:cNvPicPr/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467865" y="5377180"/>
            <a:ext cx="597429" cy="298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" name="Picture 132" descr="http://mobilemarketingmagazine.com/mmm/wp-content/uploads/drupal/images/Globe%20telecom%20wide.jpg"/>
          <p:cNvPicPr/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467865" y="2763273"/>
            <a:ext cx="668764" cy="272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9" name="Picture 138" descr="https://encrypted-tbn1.gstatic.com/images?q=tbn:ANd9GcRYIrW2vjDr4amykOdxQx9PqDpmiTZNevPnvn7Kr2zzyn0d8XXPhg"/>
          <p:cNvPicPr/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094482" y="5003775"/>
            <a:ext cx="786885" cy="389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0" name="Picture 139" descr="http://rampver.com/images/ayala_corp_logo.jpeg"/>
          <p:cNvPicPr/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542544" y="2389864"/>
            <a:ext cx="557980" cy="249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2" name="Rectangle 41"/>
          <p:cNvSpPr>
            <a:spLocks/>
          </p:cNvSpPr>
          <p:nvPr/>
        </p:nvSpPr>
        <p:spPr bwMode="auto">
          <a:xfrm>
            <a:off x="3883290" y="3510104"/>
            <a:ext cx="405560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algn="l">
              <a:defRPr sz="1200">
                <a:solidFill>
                  <a:schemeClr val="tx1"/>
                </a:solidFill>
                <a:latin typeface="Gill Sans" charset="0"/>
              </a:defRPr>
            </a:lvl1pPr>
            <a:lvl2pPr algn="l">
              <a:defRPr sz="1200">
                <a:solidFill>
                  <a:schemeClr val="tx1"/>
                </a:solidFill>
                <a:latin typeface="Gill Sans" charset="0"/>
              </a:defRPr>
            </a:lvl2pPr>
            <a:lvl3pPr algn="l">
              <a:defRPr sz="1200">
                <a:solidFill>
                  <a:schemeClr val="tx1"/>
                </a:solidFill>
                <a:latin typeface="Gill Sans" charset="0"/>
              </a:defRPr>
            </a:lvl3pPr>
            <a:lvl4pPr algn="l">
              <a:defRPr sz="1200">
                <a:solidFill>
                  <a:schemeClr val="tx1"/>
                </a:solidFill>
                <a:latin typeface="Gill Sans" charset="0"/>
              </a:defRPr>
            </a:lvl4pPr>
            <a:lvl5pPr algn="l">
              <a:defRPr sz="1200">
                <a:solidFill>
                  <a:schemeClr val="tx1"/>
                </a:solidFill>
                <a:latin typeface="Gill Sans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Gill Sans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latin typeface="+mn-lt"/>
                <a:ea typeface="Century Gothic" charset="0"/>
                <a:cs typeface="Century Gothic" charset="0"/>
                <a:sym typeface="Century Gothic" charset="0"/>
              </a:rPr>
              <a:t> *       </a:t>
            </a:r>
            <a:endParaRPr lang="en-US" dirty="0">
              <a:latin typeface="+mn-lt"/>
              <a:ea typeface="Century Gothic" charset="0"/>
              <a:cs typeface="Century Gothic" charset="0"/>
              <a:sym typeface="Century Gothic" charset="0"/>
            </a:endParaRPr>
          </a:p>
        </p:txBody>
      </p:sp>
      <p:pic>
        <p:nvPicPr>
          <p:cNvPr id="141" name="Picture 140" descr="http://rodmagaru.com/wp-content/uploads/2012/08/SAGIP-KAPAMILYA-LOGO.jpg"/>
          <p:cNvPicPr/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467865" y="1194940"/>
            <a:ext cx="612528" cy="27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84037" y="1941429"/>
            <a:ext cx="423949" cy="34374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460318" y="1970062"/>
            <a:ext cx="260799" cy="341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353946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5055499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677" name="think-cell Slide" r:id="rId5" imgW="360" imgH="360" progId="">
              <p:embed/>
            </p:oleObj>
          </a:graphicData>
        </a:graphic>
      </p:graphicFrame>
      <p:sp>
        <p:nvSpPr>
          <p:cNvPr id="7" name="Rectangle 7"/>
          <p:cNvSpPr txBox="1">
            <a:spLocks/>
          </p:cNvSpPr>
          <p:nvPr/>
        </p:nvSpPr>
        <p:spPr>
          <a:xfrm>
            <a:off x="158750" y="1284541"/>
            <a:ext cx="1064932" cy="591424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r>
              <a:rPr lang="en-US" sz="1500" b="1" dirty="0" err="1" smtClean="0">
                <a:solidFill>
                  <a:schemeClr val="accent3"/>
                </a:solidFill>
              </a:rPr>
              <a:t>Infrastruc-ture</a:t>
            </a:r>
            <a:r>
              <a:rPr lang="en-US" sz="1500" b="1" dirty="0" smtClean="0">
                <a:solidFill>
                  <a:schemeClr val="accent3"/>
                </a:solidFill>
              </a:rPr>
              <a:t> </a:t>
            </a:r>
            <a:endParaRPr lang="en-US" sz="1500" b="1" dirty="0">
              <a:solidFill>
                <a:schemeClr val="accent3"/>
              </a:solidFill>
            </a:endParaRPr>
          </a:p>
        </p:txBody>
      </p:sp>
      <p:sp>
        <p:nvSpPr>
          <p:cNvPr id="11" name="Rectangle 7"/>
          <p:cNvSpPr txBox="1">
            <a:spLocks/>
          </p:cNvSpPr>
          <p:nvPr/>
        </p:nvSpPr>
        <p:spPr>
          <a:xfrm>
            <a:off x="158750" y="2856181"/>
            <a:ext cx="1064932" cy="591424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r>
              <a:rPr lang="en-US" sz="1500" b="1" dirty="0" smtClean="0">
                <a:solidFill>
                  <a:schemeClr val="accent3"/>
                </a:solidFill>
              </a:rPr>
              <a:t>Resettle-</a:t>
            </a:r>
            <a:r>
              <a:rPr lang="en-US" sz="1500" b="1" dirty="0" err="1" smtClean="0">
                <a:solidFill>
                  <a:schemeClr val="accent3"/>
                </a:solidFill>
              </a:rPr>
              <a:t>ment</a:t>
            </a:r>
            <a:r>
              <a:rPr lang="en-US" sz="1500" b="1" dirty="0" smtClean="0">
                <a:solidFill>
                  <a:schemeClr val="accent3"/>
                </a:solidFill>
              </a:rPr>
              <a:t> </a:t>
            </a:r>
            <a:endParaRPr lang="en-US" sz="1500" b="1" dirty="0">
              <a:solidFill>
                <a:schemeClr val="accent3"/>
              </a:solidFill>
            </a:endParaRPr>
          </a:p>
        </p:txBody>
      </p:sp>
      <p:sp>
        <p:nvSpPr>
          <p:cNvPr id="13" name="Rectangle 7"/>
          <p:cNvSpPr txBox="1">
            <a:spLocks/>
          </p:cNvSpPr>
          <p:nvPr/>
        </p:nvSpPr>
        <p:spPr>
          <a:xfrm>
            <a:off x="158750" y="4663137"/>
            <a:ext cx="1064932" cy="591424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r>
              <a:rPr lang="en-US" sz="1500" b="1" dirty="0" smtClean="0">
                <a:solidFill>
                  <a:schemeClr val="accent3"/>
                </a:solidFill>
              </a:rPr>
              <a:t>Social services </a:t>
            </a:r>
            <a:endParaRPr lang="en-US" sz="1500" b="1" dirty="0">
              <a:solidFill>
                <a:schemeClr val="accent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775"/>
          </a:xfrm>
        </p:spPr>
        <p:txBody>
          <a:bodyPr/>
          <a:lstStyle/>
          <a:p>
            <a:r>
              <a:rPr lang="en-US" dirty="0" err="1" smtClean="0"/>
              <a:t>OPARR</a:t>
            </a:r>
            <a:r>
              <a:rPr lang="en-US" dirty="0" smtClean="0"/>
              <a:t> is forming clusters to facilitate the consolidation of the plans and programs of the various stakeholders (1/2)</a:t>
            </a:r>
            <a:endParaRPr lang="en-US" dirty="0"/>
          </a:p>
        </p:txBody>
      </p:sp>
      <p:sp>
        <p:nvSpPr>
          <p:cNvPr id="6" name="McK 5. Source"/>
          <p:cNvSpPr>
            <a:spLocks noChangeArrowheads="1"/>
          </p:cNvSpPr>
          <p:nvPr/>
        </p:nvSpPr>
        <p:spPr bwMode="auto">
          <a:xfrm>
            <a:off x="119063" y="6465888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609600" indent="-609600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r>
              <a:rPr lang="en-US" sz="1000" b="0">
                <a:solidFill>
                  <a:srgbClr val="000000"/>
                </a:solidFill>
                <a:latin typeface="Calibri" pitchFamily="34" charset="0"/>
              </a:rPr>
              <a:t>SOURCE: Source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1223682" y="891756"/>
            <a:ext cx="6608724" cy="5242726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sz="15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6808411" y="2121008"/>
            <a:ext cx="2064129" cy="2833431"/>
            <a:chOff x="6626790" y="1814812"/>
            <a:chExt cx="1151988" cy="2833431"/>
          </a:xfrm>
        </p:grpSpPr>
        <p:sp>
          <p:nvSpPr>
            <p:cNvPr id="21" name="Rectangle 20"/>
            <p:cNvSpPr/>
            <p:nvPr>
              <p:custDataLst>
                <p:tags r:id="rId2"/>
              </p:custDataLst>
            </p:nvPr>
          </p:nvSpPr>
          <p:spPr bwMode="auto">
            <a:xfrm>
              <a:off x="6626790" y="1814812"/>
              <a:ext cx="1151988" cy="2833431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SzTx/>
                <a:buFontTx/>
                <a:buNone/>
                <a:tabLst/>
              </a:pPr>
              <a:endParaRPr kumimoji="0" lang="en-US" sz="1500" b="0" i="0" u="none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alibri" pitchFamily="34" charset="0"/>
              </a:endParaRPr>
            </a:p>
          </p:txBody>
        </p:sp>
        <p:sp>
          <p:nvSpPr>
            <p:cNvPr id="44" name="Rectangle 14"/>
            <p:cNvSpPr txBox="1"/>
            <p:nvPr>
              <p:custDataLst>
                <p:tags r:id="rId3"/>
              </p:custDataLst>
            </p:nvPr>
          </p:nvSpPr>
          <p:spPr>
            <a:xfrm>
              <a:off x="6672967" y="1878254"/>
              <a:ext cx="1037569" cy="23852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3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lvl="0" defTabSz="895350">
                <a:defRPr sz="1600">
                  <a:solidFill>
                    <a:srgbClr val="333333"/>
                  </a:solidFill>
                  <a:latin typeface="+mn-lt"/>
                </a:defRPr>
              </a:lvl1pPr>
              <a:lvl2pPr marL="133350" lvl="1" indent="-131763" defTabSz="895350">
                <a:buSzPct val="125000"/>
                <a:buFont typeface="Arial" charset="0"/>
                <a:buChar char="▪"/>
                <a:defRPr sz="1000" b="0">
                  <a:solidFill>
                    <a:schemeClr val="tx1"/>
                  </a:solidFill>
                  <a:latin typeface="+mn-lt"/>
                </a:defRPr>
              </a:lvl2pPr>
              <a:lvl3pPr marL="457200" indent="-261938" defTabSz="895350">
                <a:buSzPct val="120000"/>
                <a:buFont typeface="Arial" charset="0"/>
                <a:buChar char="–"/>
                <a:defRPr sz="1600">
                  <a:solidFill>
                    <a:srgbClr val="333333"/>
                  </a:solidFill>
                  <a:latin typeface="+mn-lt"/>
                </a:defRPr>
              </a:lvl3pPr>
              <a:lvl4pPr marL="614363" indent="-155575" defTabSz="895350">
                <a:buSzPct val="120000"/>
                <a:buFont typeface="Arial" charset="0"/>
                <a:buChar char="▫"/>
                <a:defRPr sz="1600">
                  <a:solidFill>
                    <a:srgbClr val="333333"/>
                  </a:solidFill>
                  <a:latin typeface="+mn-lt"/>
                </a:defRPr>
              </a:lvl4pPr>
              <a:lvl5pPr marL="746125" indent="-130175" defTabSz="895350">
                <a:buSzPct val="89000"/>
                <a:buFont typeface="Arial" charset="0"/>
                <a:buChar char="-"/>
                <a:defRPr sz="1600">
                  <a:solidFill>
                    <a:srgbClr val="333333"/>
                  </a:solidFill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333333"/>
                  </a:solidFill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333333"/>
                  </a:solidFill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333333"/>
                  </a:solidFill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333333"/>
                  </a:solidFill>
                  <a:latin typeface="+mn-lt"/>
                </a:defRPr>
              </a:lvl9pPr>
            </a:lstStyle>
            <a:p>
              <a:pPr>
                <a:spcBef>
                  <a:spcPts val="600"/>
                </a:spcBef>
                <a:buClr>
                  <a:schemeClr val="lt1"/>
                </a:buClr>
              </a:pPr>
              <a:r>
                <a:rPr lang="en-US" sz="1500" b="1" dirty="0" smtClean="0">
                  <a:solidFill>
                    <a:schemeClr val="lt1"/>
                  </a:solidFill>
                </a:rPr>
                <a:t>Other stakeholders will be consulted in this process</a:t>
              </a:r>
            </a:p>
            <a:p>
              <a:pPr lvl="1">
                <a:spcBef>
                  <a:spcPts val="600"/>
                </a:spcBef>
                <a:buClr>
                  <a:schemeClr val="lt1"/>
                </a:buClr>
              </a:pPr>
              <a:r>
                <a:rPr lang="en-US" sz="1500" dirty="0" smtClean="0">
                  <a:solidFill>
                    <a:schemeClr val="lt1"/>
                  </a:solidFill>
                </a:rPr>
                <a:t>Multilaterals/bi-laterals</a:t>
              </a:r>
            </a:p>
            <a:p>
              <a:pPr lvl="1">
                <a:spcBef>
                  <a:spcPts val="600"/>
                </a:spcBef>
                <a:buClr>
                  <a:schemeClr val="lt1"/>
                </a:buClr>
              </a:pPr>
              <a:r>
                <a:rPr lang="en-US" sz="1500" dirty="0" err="1" smtClean="0">
                  <a:solidFill>
                    <a:schemeClr val="lt1"/>
                  </a:solidFill>
                </a:rPr>
                <a:t>LGUs</a:t>
              </a:r>
              <a:endParaRPr lang="en-US" sz="1500" dirty="0" smtClean="0">
                <a:solidFill>
                  <a:schemeClr val="lt1"/>
                </a:solidFill>
              </a:endParaRPr>
            </a:p>
            <a:p>
              <a:pPr lvl="1">
                <a:spcBef>
                  <a:spcPts val="600"/>
                </a:spcBef>
                <a:buClr>
                  <a:schemeClr val="lt1"/>
                </a:buClr>
              </a:pPr>
              <a:r>
                <a:rPr lang="en-US" sz="1500" dirty="0" smtClean="0">
                  <a:solidFill>
                    <a:schemeClr val="lt1"/>
                  </a:solidFill>
                </a:rPr>
                <a:t>Private sector</a:t>
              </a:r>
            </a:p>
            <a:p>
              <a:pPr lvl="1">
                <a:spcBef>
                  <a:spcPts val="600"/>
                </a:spcBef>
                <a:buClr>
                  <a:schemeClr val="lt1"/>
                </a:buClr>
              </a:pPr>
              <a:r>
                <a:rPr lang="en-US" sz="1500" dirty="0" smtClean="0">
                  <a:solidFill>
                    <a:schemeClr val="lt1"/>
                  </a:solidFill>
                </a:rPr>
                <a:t>Civil society organizations</a:t>
              </a:r>
            </a:p>
          </p:txBody>
        </p:sp>
      </p:grpSp>
      <p:cxnSp>
        <p:nvCxnSpPr>
          <p:cNvPr id="16" name="Straight Arrow Connector 15"/>
          <p:cNvCxnSpPr/>
          <p:nvPr/>
        </p:nvCxnSpPr>
        <p:spPr bwMode="auto">
          <a:xfrm>
            <a:off x="1367178" y="1214364"/>
            <a:ext cx="312090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Rectangle 14"/>
          <p:cNvSpPr txBox="1"/>
          <p:nvPr/>
        </p:nvSpPr>
        <p:spPr>
          <a:xfrm>
            <a:off x="1367178" y="958132"/>
            <a:ext cx="3120906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r>
              <a:rPr lang="en-US" sz="1500" b="1" dirty="0" smtClean="0">
                <a:solidFill>
                  <a:schemeClr val="tx2"/>
                </a:solidFill>
              </a:rPr>
              <a:t>Objective 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19" name="Rectangle 14"/>
          <p:cNvSpPr txBox="1"/>
          <p:nvPr/>
        </p:nvSpPr>
        <p:spPr>
          <a:xfrm>
            <a:off x="4634751" y="958132"/>
            <a:ext cx="2177050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r>
              <a:rPr lang="en-US" sz="1500" b="1" dirty="0" smtClean="0">
                <a:solidFill>
                  <a:schemeClr val="tx2"/>
                </a:solidFill>
              </a:rPr>
              <a:t>Member agencies </a:t>
            </a:r>
            <a:endParaRPr lang="en-US" sz="1500" b="1" dirty="0">
              <a:solidFill>
                <a:schemeClr val="tx2"/>
              </a:solidFill>
            </a:endParaRPr>
          </a:p>
        </p:txBody>
      </p:sp>
      <p:cxnSp>
        <p:nvCxnSpPr>
          <p:cNvPr id="20" name="Straight Arrow Connector 19"/>
          <p:cNvCxnSpPr/>
          <p:nvPr/>
        </p:nvCxnSpPr>
        <p:spPr bwMode="auto">
          <a:xfrm>
            <a:off x="4634749" y="1214364"/>
            <a:ext cx="2032751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tangle 14"/>
          <p:cNvSpPr txBox="1"/>
          <p:nvPr/>
        </p:nvSpPr>
        <p:spPr>
          <a:xfrm>
            <a:off x="1367178" y="1284541"/>
            <a:ext cx="2972680" cy="1461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marL="133350" lvl="1" indent="-131763">
              <a:spcBef>
                <a:spcPts val="600"/>
              </a:spcBef>
            </a:pPr>
            <a:r>
              <a:rPr lang="en-US" sz="1500" b="0" dirty="0" smtClean="0">
                <a:solidFill>
                  <a:schemeClr val="tx1"/>
                </a:solidFill>
              </a:rPr>
              <a:t>All </a:t>
            </a:r>
            <a:r>
              <a:rPr lang="en-US" sz="1500" b="1" dirty="0" smtClean="0">
                <a:solidFill>
                  <a:schemeClr val="tx1"/>
                </a:solidFill>
              </a:rPr>
              <a:t>infrastructural-related rehabilitation</a:t>
            </a:r>
            <a:endParaRPr lang="en-US" sz="1500" b="1" dirty="0">
              <a:solidFill>
                <a:schemeClr val="tx1"/>
              </a:solidFill>
            </a:endParaRPr>
          </a:p>
          <a:p>
            <a:pPr marL="133350" lvl="1" indent="-131763">
              <a:spcBef>
                <a:spcPts val="600"/>
              </a:spcBef>
            </a:pPr>
            <a:r>
              <a:rPr lang="en-US" sz="1500" dirty="0" smtClean="0">
                <a:solidFill>
                  <a:schemeClr val="tx1"/>
                </a:solidFill>
              </a:rPr>
              <a:t>C</a:t>
            </a:r>
            <a:r>
              <a:rPr lang="en-US" sz="1500" b="0" dirty="0" smtClean="0">
                <a:solidFill>
                  <a:schemeClr val="tx1"/>
                </a:solidFill>
              </a:rPr>
              <a:t>onstruction, repair, and restoration of damaged roads, bridges, and other public infrastructure</a:t>
            </a:r>
            <a:endParaRPr lang="en-US" sz="1500" b="0" dirty="0">
              <a:solidFill>
                <a:schemeClr val="tx1"/>
              </a:solidFill>
            </a:endParaRPr>
          </a:p>
        </p:txBody>
      </p:sp>
      <p:sp>
        <p:nvSpPr>
          <p:cNvPr id="25" name="Rectangle 14"/>
          <p:cNvSpPr txBox="1">
            <a:spLocks/>
          </p:cNvSpPr>
          <p:nvPr/>
        </p:nvSpPr>
        <p:spPr>
          <a:xfrm>
            <a:off x="4634749" y="1284541"/>
            <a:ext cx="110290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33350" lvl="1" indent="-131763" defTabSz="895350">
              <a:buSzPct val="125000"/>
              <a:buFont typeface="Arial" charset="0"/>
              <a:buChar char="▪"/>
              <a:defRPr sz="1000" b="0">
                <a:solidFill>
                  <a:schemeClr val="tx1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lvl="1"/>
            <a:r>
              <a:rPr lang="en-US" sz="1500" dirty="0" err="1" smtClean="0"/>
              <a:t>DPWH</a:t>
            </a:r>
            <a:endParaRPr lang="en-US" sz="1500" dirty="0" smtClean="0"/>
          </a:p>
          <a:p>
            <a:pPr lvl="1"/>
            <a:r>
              <a:rPr lang="en-US" sz="1500" dirty="0" err="1" smtClean="0"/>
              <a:t>DepEd</a:t>
            </a:r>
            <a:endParaRPr lang="en-US" sz="1500" dirty="0" smtClean="0"/>
          </a:p>
          <a:p>
            <a:pPr lvl="1"/>
            <a:r>
              <a:rPr lang="en-US" sz="1500" dirty="0" smtClean="0"/>
              <a:t>DOE </a:t>
            </a:r>
          </a:p>
          <a:p>
            <a:pPr lvl="1"/>
            <a:r>
              <a:rPr lang="en-US" sz="1500" dirty="0" err="1" smtClean="0"/>
              <a:t>DENR</a:t>
            </a:r>
            <a:r>
              <a:rPr lang="en-US" sz="1500" dirty="0" smtClean="0"/>
              <a:t> </a:t>
            </a:r>
          </a:p>
          <a:p>
            <a:pPr lvl="1"/>
            <a:r>
              <a:rPr lang="en-US" sz="1500" dirty="0" smtClean="0"/>
              <a:t>DTI</a:t>
            </a:r>
          </a:p>
          <a:p>
            <a:pPr lvl="1"/>
            <a:r>
              <a:rPr lang="en-US" sz="1500" dirty="0" err="1" smtClean="0"/>
              <a:t>LWUA</a:t>
            </a:r>
            <a:endParaRPr lang="en-US" sz="1500" dirty="0" smtClean="0"/>
          </a:p>
        </p:txBody>
      </p:sp>
      <p:sp>
        <p:nvSpPr>
          <p:cNvPr id="37" name="Rectangle 14"/>
          <p:cNvSpPr txBox="1">
            <a:spLocks/>
          </p:cNvSpPr>
          <p:nvPr/>
        </p:nvSpPr>
        <p:spPr>
          <a:xfrm>
            <a:off x="5822937" y="1284541"/>
            <a:ext cx="98886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33350" lvl="1" indent="-131763" defTabSz="895350">
              <a:buSzPct val="125000"/>
              <a:buFont typeface="Arial" charset="0"/>
              <a:buChar char="▪"/>
              <a:defRPr sz="1000" b="0">
                <a:solidFill>
                  <a:schemeClr val="tx1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lvl="1"/>
            <a:r>
              <a:rPr lang="en-US" sz="1500" dirty="0" err="1"/>
              <a:t>DOH</a:t>
            </a:r>
            <a:endParaRPr lang="en-US" sz="1500" dirty="0"/>
          </a:p>
          <a:p>
            <a:pPr lvl="1"/>
            <a:r>
              <a:rPr lang="en-US" sz="1500" dirty="0" smtClean="0"/>
              <a:t>DOST</a:t>
            </a:r>
          </a:p>
          <a:p>
            <a:pPr lvl="1"/>
            <a:r>
              <a:rPr lang="en-US" sz="1500" dirty="0" err="1" smtClean="0"/>
              <a:t>DOTC</a:t>
            </a:r>
            <a:r>
              <a:rPr lang="en-US" sz="1500" dirty="0" smtClean="0"/>
              <a:t> </a:t>
            </a:r>
          </a:p>
          <a:p>
            <a:pPr lvl="1"/>
            <a:r>
              <a:rPr lang="en-US" sz="1500" dirty="0" err="1" smtClean="0"/>
              <a:t>DILG</a:t>
            </a:r>
            <a:endParaRPr lang="en-US" sz="1500" dirty="0" smtClean="0"/>
          </a:p>
          <a:p>
            <a:pPr lvl="1"/>
            <a:r>
              <a:rPr lang="en-US" sz="1500" dirty="0" err="1" smtClean="0"/>
              <a:t>OCD</a:t>
            </a:r>
            <a:endParaRPr lang="en-US" sz="1500" dirty="0" smtClean="0"/>
          </a:p>
        </p:txBody>
      </p:sp>
      <p:sp>
        <p:nvSpPr>
          <p:cNvPr id="32" name="Rectangle 14"/>
          <p:cNvSpPr txBox="1"/>
          <p:nvPr/>
        </p:nvSpPr>
        <p:spPr>
          <a:xfrm>
            <a:off x="1367178" y="2830781"/>
            <a:ext cx="2972680" cy="1692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marL="133350" lvl="1" indent="-131763">
              <a:spcBef>
                <a:spcPts val="600"/>
              </a:spcBef>
            </a:pPr>
            <a:r>
              <a:rPr lang="en-US" sz="1500" b="1" dirty="0" smtClean="0">
                <a:solidFill>
                  <a:schemeClr val="tx1"/>
                </a:solidFill>
              </a:rPr>
              <a:t>Relocation of affected residents </a:t>
            </a:r>
            <a:r>
              <a:rPr lang="en-US" sz="1500" b="0" dirty="0" smtClean="0">
                <a:solidFill>
                  <a:schemeClr val="tx1"/>
                </a:solidFill>
              </a:rPr>
              <a:t>of safe areas and for the development of secure, comprehensive, and sustainable settlements</a:t>
            </a:r>
          </a:p>
          <a:p>
            <a:pPr marL="133350" lvl="1" indent="-131763">
              <a:spcBef>
                <a:spcPts val="600"/>
              </a:spcBef>
            </a:pPr>
            <a:r>
              <a:rPr lang="en-US" sz="1500" b="0" dirty="0" smtClean="0">
                <a:solidFill>
                  <a:schemeClr val="tx1"/>
                </a:solidFill>
              </a:rPr>
              <a:t>Construction of off-site totally damaged houses</a:t>
            </a:r>
            <a:endParaRPr lang="en-US" sz="1500" b="0" dirty="0">
              <a:solidFill>
                <a:schemeClr val="tx1"/>
              </a:solidFill>
            </a:endParaRPr>
          </a:p>
        </p:txBody>
      </p:sp>
      <p:sp>
        <p:nvSpPr>
          <p:cNvPr id="33" name="Rectangle 14"/>
          <p:cNvSpPr txBox="1">
            <a:spLocks/>
          </p:cNvSpPr>
          <p:nvPr/>
        </p:nvSpPr>
        <p:spPr>
          <a:xfrm>
            <a:off x="4634749" y="2830781"/>
            <a:ext cx="110290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33350" lvl="1" indent="-131763" defTabSz="895350">
              <a:buSzPct val="125000"/>
              <a:buFont typeface="Arial" charset="0"/>
              <a:buChar char="▪"/>
              <a:defRPr sz="1000" b="0">
                <a:solidFill>
                  <a:schemeClr val="tx1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lvl="1"/>
            <a:r>
              <a:rPr lang="en-US" sz="1500" dirty="0" err="1" smtClean="0"/>
              <a:t>DILG</a:t>
            </a:r>
            <a:r>
              <a:rPr lang="en-US" sz="1500" dirty="0" smtClean="0"/>
              <a:t> </a:t>
            </a:r>
            <a:endParaRPr lang="en-US" sz="1500" dirty="0"/>
          </a:p>
          <a:p>
            <a:pPr lvl="1"/>
            <a:r>
              <a:rPr lang="en-US" sz="1500" dirty="0" smtClean="0"/>
              <a:t>DA</a:t>
            </a:r>
          </a:p>
          <a:p>
            <a:pPr lvl="1"/>
            <a:r>
              <a:rPr lang="en-US" sz="1500" dirty="0" smtClean="0"/>
              <a:t>DAR</a:t>
            </a:r>
          </a:p>
          <a:p>
            <a:pPr lvl="1"/>
            <a:r>
              <a:rPr lang="en-US" sz="1500" dirty="0" err="1" smtClean="0"/>
              <a:t>DepEd</a:t>
            </a:r>
            <a:endParaRPr lang="en-US" sz="1500" dirty="0" smtClean="0"/>
          </a:p>
          <a:p>
            <a:pPr lvl="1"/>
            <a:r>
              <a:rPr lang="en-US" sz="1500" dirty="0" err="1" smtClean="0"/>
              <a:t>OCD</a:t>
            </a:r>
            <a:endParaRPr lang="en-US" sz="1500" dirty="0" smtClean="0"/>
          </a:p>
          <a:p>
            <a:pPr lvl="1"/>
            <a:r>
              <a:rPr lang="en-US" sz="1500" dirty="0" err="1" smtClean="0"/>
              <a:t>HLURB</a:t>
            </a:r>
            <a:endParaRPr lang="en-US" sz="1500" dirty="0" smtClean="0"/>
          </a:p>
          <a:p>
            <a:pPr lvl="1"/>
            <a:r>
              <a:rPr lang="en-US" sz="1500" dirty="0" err="1" smtClean="0"/>
              <a:t>HUDCC</a:t>
            </a:r>
            <a:endParaRPr lang="en-US" sz="1500" dirty="0" smtClean="0"/>
          </a:p>
        </p:txBody>
      </p:sp>
      <p:sp>
        <p:nvSpPr>
          <p:cNvPr id="40" name="Rectangle 14"/>
          <p:cNvSpPr txBox="1">
            <a:spLocks/>
          </p:cNvSpPr>
          <p:nvPr/>
        </p:nvSpPr>
        <p:spPr>
          <a:xfrm>
            <a:off x="5822937" y="2830781"/>
            <a:ext cx="98886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33350" lvl="1" indent="-131763" defTabSz="895350">
              <a:buSzPct val="125000"/>
              <a:buFont typeface="Arial" charset="0"/>
              <a:buChar char="▪"/>
              <a:defRPr sz="1000" b="0">
                <a:solidFill>
                  <a:schemeClr val="tx1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lvl="1"/>
            <a:r>
              <a:rPr lang="en-US" sz="1500" dirty="0" err="1" smtClean="0"/>
              <a:t>DENR</a:t>
            </a:r>
            <a:endParaRPr lang="en-US" sz="1500" dirty="0" smtClean="0"/>
          </a:p>
          <a:p>
            <a:pPr lvl="1"/>
            <a:r>
              <a:rPr lang="en-US" sz="1500" dirty="0" err="1" smtClean="0"/>
              <a:t>DOH</a:t>
            </a:r>
            <a:endParaRPr lang="en-US" sz="1500" dirty="0" smtClean="0"/>
          </a:p>
          <a:p>
            <a:pPr lvl="1"/>
            <a:r>
              <a:rPr lang="en-US" sz="1500" dirty="0" smtClean="0"/>
              <a:t>DOST</a:t>
            </a:r>
          </a:p>
          <a:p>
            <a:pPr lvl="1"/>
            <a:r>
              <a:rPr lang="en-US" sz="1500" dirty="0" err="1" smtClean="0"/>
              <a:t>DSWD</a:t>
            </a:r>
            <a:endParaRPr lang="en-US" sz="1500" dirty="0" smtClean="0"/>
          </a:p>
          <a:p>
            <a:pPr lvl="1"/>
            <a:r>
              <a:rPr lang="en-US" sz="1500" dirty="0" err="1" smtClean="0"/>
              <a:t>NCIP</a:t>
            </a:r>
            <a:endParaRPr lang="en-US" sz="1500" dirty="0" smtClean="0"/>
          </a:p>
          <a:p>
            <a:pPr lvl="1"/>
            <a:r>
              <a:rPr lang="en-US" sz="1500" dirty="0" err="1" smtClean="0"/>
              <a:t>NHA</a:t>
            </a:r>
            <a:endParaRPr lang="en-US" sz="1500" dirty="0" smtClean="0"/>
          </a:p>
        </p:txBody>
      </p:sp>
      <p:sp>
        <p:nvSpPr>
          <p:cNvPr id="35" name="Rectangle 14"/>
          <p:cNvSpPr txBox="1"/>
          <p:nvPr/>
        </p:nvSpPr>
        <p:spPr>
          <a:xfrm>
            <a:off x="1367178" y="4663137"/>
            <a:ext cx="2972680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marL="133350" lvl="1" indent="-131763">
              <a:spcBef>
                <a:spcPts val="600"/>
              </a:spcBef>
            </a:pPr>
            <a:r>
              <a:rPr lang="en-US" sz="1500" b="0" dirty="0" smtClean="0">
                <a:solidFill>
                  <a:schemeClr val="tx1"/>
                </a:solidFill>
              </a:rPr>
              <a:t>Relief operations and community services</a:t>
            </a:r>
          </a:p>
          <a:p>
            <a:pPr marL="133350" lvl="1" indent="-131763">
              <a:spcBef>
                <a:spcPts val="600"/>
              </a:spcBef>
            </a:pPr>
            <a:r>
              <a:rPr lang="en-US" sz="1500" b="1" dirty="0" smtClean="0">
                <a:solidFill>
                  <a:schemeClr val="tx1"/>
                </a:solidFill>
              </a:rPr>
              <a:t>Food, health, education,</a:t>
            </a:r>
            <a:r>
              <a:rPr lang="en-US" sz="1500" b="0" dirty="0" smtClean="0">
                <a:solidFill>
                  <a:schemeClr val="tx1"/>
                </a:solidFill>
              </a:rPr>
              <a:t> and emergency shelter assistance and core shelter assistance</a:t>
            </a:r>
            <a:endParaRPr lang="en-US" sz="1500" b="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399166" y="2789497"/>
            <a:ext cx="5268334" cy="1793977"/>
            <a:chOff x="1157120" y="2695368"/>
            <a:chExt cx="6508628" cy="1793977"/>
          </a:xfrm>
        </p:grpSpPr>
        <p:cxnSp>
          <p:nvCxnSpPr>
            <p:cNvPr id="60" name="Straight Connector 59"/>
            <p:cNvCxnSpPr>
              <a:cxnSpLocks/>
            </p:cNvCxnSpPr>
            <p:nvPr/>
          </p:nvCxnSpPr>
          <p:spPr bwMode="gray">
            <a:xfrm flipH="1">
              <a:off x="1157120" y="2695368"/>
              <a:ext cx="6508628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6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Straight Connector 60"/>
            <p:cNvCxnSpPr>
              <a:cxnSpLocks/>
            </p:cNvCxnSpPr>
            <p:nvPr/>
          </p:nvCxnSpPr>
          <p:spPr bwMode="gray">
            <a:xfrm flipH="1">
              <a:off x="1157120" y="4489345"/>
              <a:ext cx="6508628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6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9" name="Rectangle 14"/>
          <p:cNvSpPr txBox="1">
            <a:spLocks/>
          </p:cNvSpPr>
          <p:nvPr/>
        </p:nvSpPr>
        <p:spPr>
          <a:xfrm>
            <a:off x="4634749" y="4671799"/>
            <a:ext cx="1102903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33350" lvl="1" indent="-131763" defTabSz="895350">
              <a:buSzPct val="125000"/>
              <a:buFont typeface="Arial" charset="0"/>
              <a:buChar char="▪"/>
              <a:defRPr sz="1000" b="0">
                <a:solidFill>
                  <a:schemeClr val="tx1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lvl="1"/>
            <a:r>
              <a:rPr lang="en-US" sz="1500" dirty="0" err="1" smtClean="0"/>
              <a:t>DSWD</a:t>
            </a:r>
            <a:endParaRPr lang="en-US" sz="1500" dirty="0"/>
          </a:p>
          <a:p>
            <a:pPr lvl="1"/>
            <a:r>
              <a:rPr lang="en-US" sz="1500" dirty="0" err="1" smtClean="0"/>
              <a:t>DND</a:t>
            </a:r>
            <a:endParaRPr lang="en-US" sz="1500" dirty="0" smtClean="0"/>
          </a:p>
          <a:p>
            <a:pPr lvl="1"/>
            <a:r>
              <a:rPr lang="en-US" sz="1500" dirty="0" smtClean="0"/>
              <a:t>DA</a:t>
            </a:r>
          </a:p>
          <a:p>
            <a:pPr lvl="1"/>
            <a:r>
              <a:rPr lang="en-US" sz="1500" dirty="0" err="1" smtClean="0"/>
              <a:t>DepEd</a:t>
            </a:r>
            <a:endParaRPr lang="en-US" sz="1500" dirty="0" smtClean="0"/>
          </a:p>
          <a:p>
            <a:pPr lvl="1"/>
            <a:r>
              <a:rPr lang="en-US" sz="1500" dirty="0" err="1" smtClean="0"/>
              <a:t>NHA</a:t>
            </a:r>
            <a:endParaRPr lang="en-US" sz="1500" dirty="0"/>
          </a:p>
          <a:p>
            <a:pPr lvl="1"/>
            <a:r>
              <a:rPr lang="en-US" sz="1500" dirty="0" err="1" smtClean="0"/>
              <a:t>OCD</a:t>
            </a:r>
            <a:endParaRPr lang="en-US" sz="1500" dirty="0" smtClean="0"/>
          </a:p>
        </p:txBody>
      </p:sp>
      <p:sp>
        <p:nvSpPr>
          <p:cNvPr id="51" name="Rectangle 14"/>
          <p:cNvSpPr txBox="1">
            <a:spLocks/>
          </p:cNvSpPr>
          <p:nvPr/>
        </p:nvSpPr>
        <p:spPr>
          <a:xfrm>
            <a:off x="5822937" y="4671799"/>
            <a:ext cx="988863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33350" lvl="1" indent="-131763" defTabSz="895350">
              <a:buSzPct val="125000"/>
              <a:buFont typeface="Arial" charset="0"/>
              <a:buChar char="▪"/>
              <a:defRPr sz="1000" b="0">
                <a:solidFill>
                  <a:schemeClr val="tx1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lvl="1"/>
            <a:r>
              <a:rPr lang="en-US" sz="1500" dirty="0" err="1" smtClean="0"/>
              <a:t>DENR</a:t>
            </a:r>
            <a:endParaRPr lang="en-US" sz="1500" dirty="0" smtClean="0"/>
          </a:p>
          <a:p>
            <a:pPr lvl="1"/>
            <a:r>
              <a:rPr lang="en-US" sz="1500" dirty="0" err="1" smtClean="0"/>
              <a:t>DoH</a:t>
            </a:r>
            <a:endParaRPr lang="en-US" sz="1500" dirty="0" smtClean="0"/>
          </a:p>
          <a:p>
            <a:pPr lvl="1"/>
            <a:r>
              <a:rPr lang="en-US" sz="1500" dirty="0" smtClean="0"/>
              <a:t>PNP</a:t>
            </a:r>
          </a:p>
          <a:p>
            <a:pPr lvl="1"/>
            <a:r>
              <a:rPr lang="en-US" sz="1500" dirty="0" err="1" smtClean="0"/>
              <a:t>HLURB</a:t>
            </a:r>
            <a:endParaRPr lang="en-US" sz="1500" dirty="0" smtClean="0"/>
          </a:p>
          <a:p>
            <a:pPr lvl="1"/>
            <a:r>
              <a:rPr lang="en-US" sz="1500" dirty="0" err="1" smtClean="0"/>
              <a:t>HUDCC</a:t>
            </a:r>
            <a:endParaRPr lang="en-US" sz="1500" dirty="0" smtClean="0"/>
          </a:p>
          <a:p>
            <a:pPr lvl="1"/>
            <a:r>
              <a:rPr lang="en-US" sz="1500" dirty="0" err="1" smtClean="0"/>
              <a:t>NCIP</a:t>
            </a:r>
            <a:endParaRPr lang="en-US" sz="1500" dirty="0" smtClean="0"/>
          </a:p>
        </p:txBody>
      </p:sp>
    </p:spTree>
    <p:extLst>
      <p:ext uri="{BB962C8B-B14F-4D97-AF65-F5344CB8AC3E}">
        <p14:creationId xmlns:p14="http://schemas.microsoft.com/office/powerpoint/2010/main" xmlns="" val="36959262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5748115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701" name="think-cell Slide" r:id="rId5" imgW="360" imgH="360" progId="">
              <p:embed/>
            </p:oleObj>
          </a:graphicData>
        </a:graphic>
      </p:graphicFrame>
      <p:sp>
        <p:nvSpPr>
          <p:cNvPr id="22" name="Rectangle 7"/>
          <p:cNvSpPr txBox="1">
            <a:spLocks/>
          </p:cNvSpPr>
          <p:nvPr/>
        </p:nvSpPr>
        <p:spPr>
          <a:xfrm>
            <a:off x="119063" y="1500566"/>
            <a:ext cx="925196" cy="591424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r>
              <a:rPr lang="en-US" b="1" dirty="0" err="1" smtClean="0">
                <a:solidFill>
                  <a:schemeClr val="accent3"/>
                </a:solidFill>
              </a:rPr>
              <a:t>Liveli</a:t>
            </a:r>
            <a:r>
              <a:rPr lang="en-US" b="1" dirty="0" smtClean="0">
                <a:solidFill>
                  <a:schemeClr val="accent3"/>
                </a:solidFill>
              </a:rPr>
              <a:t>-hood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23" name="Rectangle 7"/>
          <p:cNvSpPr txBox="1">
            <a:spLocks/>
          </p:cNvSpPr>
          <p:nvPr/>
        </p:nvSpPr>
        <p:spPr>
          <a:xfrm>
            <a:off x="119063" y="3635689"/>
            <a:ext cx="925196" cy="591424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accent3"/>
                </a:solidFill>
              </a:rPr>
              <a:t>Support </a:t>
            </a:r>
            <a:endParaRPr lang="en-US" b="1" dirty="0">
              <a:solidFill>
                <a:schemeClr val="accent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775"/>
          </a:xfrm>
        </p:spPr>
        <p:txBody>
          <a:bodyPr/>
          <a:lstStyle/>
          <a:p>
            <a:r>
              <a:rPr lang="en-US" dirty="0" err="1" smtClean="0"/>
              <a:t>OPARR</a:t>
            </a:r>
            <a:r>
              <a:rPr lang="en-US" dirty="0" smtClean="0"/>
              <a:t> is forming clusters to facilitate the consolidation of the plans and programs of the various stakeholders (2/2)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 bwMode="auto">
          <a:xfrm>
            <a:off x="1044259" y="995082"/>
            <a:ext cx="6080441" cy="5139400"/>
          </a:xfrm>
          <a:prstGeom prst="rect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</a:pPr>
            <a:endParaRPr kumimoji="0" lang="en-US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6714317" y="2109896"/>
            <a:ext cx="2023283" cy="2909771"/>
            <a:chOff x="7653854" y="1933574"/>
            <a:chExt cx="1083746" cy="2909771"/>
          </a:xfrm>
        </p:grpSpPr>
        <p:sp>
          <p:nvSpPr>
            <p:cNvPr id="21" name="Rectangle 20"/>
            <p:cNvSpPr/>
            <p:nvPr>
              <p:custDataLst>
                <p:tags r:id="rId2"/>
              </p:custDataLst>
            </p:nvPr>
          </p:nvSpPr>
          <p:spPr bwMode="auto">
            <a:xfrm>
              <a:off x="7653854" y="1933574"/>
              <a:ext cx="1083746" cy="2909771"/>
            </a:xfrm>
            <a:prstGeom prst="rect">
              <a:avLst/>
            </a:prstGeom>
            <a:solidFill>
              <a:schemeClr val="tx2"/>
            </a:solidFill>
            <a:ln w="1905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SzTx/>
                <a:buFontTx/>
                <a:buNone/>
                <a:tabLst/>
              </a:pPr>
              <a:endParaRPr kumimoji="0" lang="en-US" b="0" i="0" u="none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alibri" pitchFamily="34" charset="0"/>
              </a:endParaRPr>
            </a:p>
          </p:txBody>
        </p:sp>
        <p:sp>
          <p:nvSpPr>
            <p:cNvPr id="44" name="Rectangle 14"/>
            <p:cNvSpPr txBox="1"/>
            <p:nvPr>
              <p:custDataLst>
                <p:tags r:id="rId3"/>
              </p:custDataLst>
            </p:nvPr>
          </p:nvSpPr>
          <p:spPr>
            <a:xfrm>
              <a:off x="7710536" y="2006543"/>
              <a:ext cx="943299" cy="2745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3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lvl="0" defTabSz="895350">
                <a:defRPr sz="1600">
                  <a:solidFill>
                    <a:srgbClr val="333333"/>
                  </a:solidFill>
                  <a:latin typeface="+mn-lt"/>
                </a:defRPr>
              </a:lvl1pPr>
              <a:lvl2pPr marL="133350" lvl="1" indent="-131763" defTabSz="895350">
                <a:buSzPct val="125000"/>
                <a:buFont typeface="Arial" charset="0"/>
                <a:buChar char="▪"/>
                <a:defRPr sz="1000" b="0">
                  <a:solidFill>
                    <a:schemeClr val="tx1"/>
                  </a:solidFill>
                  <a:latin typeface="+mn-lt"/>
                </a:defRPr>
              </a:lvl2pPr>
              <a:lvl3pPr marL="457200" indent="-261938" defTabSz="895350">
                <a:buSzPct val="120000"/>
                <a:buFont typeface="Arial" charset="0"/>
                <a:buChar char="–"/>
                <a:defRPr sz="1600">
                  <a:solidFill>
                    <a:srgbClr val="333333"/>
                  </a:solidFill>
                  <a:latin typeface="+mn-lt"/>
                </a:defRPr>
              </a:lvl3pPr>
              <a:lvl4pPr marL="614363" indent="-155575" defTabSz="895350">
                <a:buSzPct val="120000"/>
                <a:buFont typeface="Arial" charset="0"/>
                <a:buChar char="▫"/>
                <a:defRPr sz="1600">
                  <a:solidFill>
                    <a:srgbClr val="333333"/>
                  </a:solidFill>
                  <a:latin typeface="+mn-lt"/>
                </a:defRPr>
              </a:lvl4pPr>
              <a:lvl5pPr marL="746125" indent="-130175" defTabSz="895350">
                <a:buSzPct val="89000"/>
                <a:buFont typeface="Arial" charset="0"/>
                <a:buChar char="-"/>
                <a:defRPr sz="1600">
                  <a:solidFill>
                    <a:srgbClr val="333333"/>
                  </a:solidFill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333333"/>
                  </a:solidFill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333333"/>
                  </a:solidFill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333333"/>
                  </a:solidFill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rgbClr val="333333"/>
                  </a:solidFill>
                  <a:latin typeface="+mn-lt"/>
                </a:defRPr>
              </a:lvl9pPr>
            </a:lstStyle>
            <a:p>
              <a:pPr>
                <a:spcBef>
                  <a:spcPts val="600"/>
                </a:spcBef>
                <a:buClr>
                  <a:schemeClr val="lt1"/>
                </a:buClr>
              </a:pPr>
              <a:r>
                <a:rPr lang="en-US" b="1" dirty="0" smtClean="0">
                  <a:solidFill>
                    <a:schemeClr val="lt1"/>
                  </a:solidFill>
                </a:rPr>
                <a:t>Other stakeholders will be consulted in this process</a:t>
              </a:r>
            </a:p>
            <a:p>
              <a:pPr lvl="1">
                <a:spcBef>
                  <a:spcPts val="600"/>
                </a:spcBef>
                <a:buClr>
                  <a:schemeClr val="lt1"/>
                </a:buClr>
              </a:pPr>
              <a:r>
                <a:rPr lang="en-US" sz="1600" dirty="0" smtClean="0">
                  <a:solidFill>
                    <a:schemeClr val="lt1"/>
                  </a:solidFill>
                </a:rPr>
                <a:t>Multilaterals/bi-laterals</a:t>
              </a:r>
            </a:p>
            <a:p>
              <a:pPr lvl="1">
                <a:spcBef>
                  <a:spcPts val="600"/>
                </a:spcBef>
                <a:buClr>
                  <a:schemeClr val="lt1"/>
                </a:buClr>
              </a:pPr>
              <a:r>
                <a:rPr lang="en-US" sz="1600" dirty="0" err="1" smtClean="0">
                  <a:solidFill>
                    <a:schemeClr val="lt1"/>
                  </a:solidFill>
                </a:rPr>
                <a:t>LGUs</a:t>
              </a:r>
              <a:endParaRPr lang="en-US" sz="1600" dirty="0" smtClean="0">
                <a:solidFill>
                  <a:schemeClr val="lt1"/>
                </a:solidFill>
              </a:endParaRPr>
            </a:p>
            <a:p>
              <a:pPr lvl="1">
                <a:spcBef>
                  <a:spcPts val="600"/>
                </a:spcBef>
                <a:buClr>
                  <a:schemeClr val="lt1"/>
                </a:buClr>
              </a:pPr>
              <a:r>
                <a:rPr lang="en-US" sz="1600" dirty="0" smtClean="0">
                  <a:solidFill>
                    <a:schemeClr val="lt1"/>
                  </a:solidFill>
                </a:rPr>
                <a:t>Private sector</a:t>
              </a:r>
            </a:p>
            <a:p>
              <a:pPr lvl="1">
                <a:spcBef>
                  <a:spcPts val="600"/>
                </a:spcBef>
                <a:buClr>
                  <a:schemeClr val="lt1"/>
                </a:buClr>
              </a:pPr>
              <a:r>
                <a:rPr lang="en-US" sz="1600" dirty="0" smtClean="0">
                  <a:solidFill>
                    <a:schemeClr val="lt1"/>
                  </a:solidFill>
                </a:rPr>
                <a:t>Civil society organizations</a:t>
              </a:r>
            </a:p>
          </p:txBody>
        </p:sp>
      </p:grpSp>
      <p:cxnSp>
        <p:nvCxnSpPr>
          <p:cNvPr id="16" name="Straight Arrow Connector 15"/>
          <p:cNvCxnSpPr/>
          <p:nvPr/>
        </p:nvCxnSpPr>
        <p:spPr bwMode="auto">
          <a:xfrm>
            <a:off x="1125132" y="1382622"/>
            <a:ext cx="312090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Rectangle 14"/>
          <p:cNvSpPr txBox="1"/>
          <p:nvPr/>
        </p:nvSpPr>
        <p:spPr>
          <a:xfrm>
            <a:off x="1125132" y="1111001"/>
            <a:ext cx="312090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Objective 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9" name="Rectangle 14"/>
          <p:cNvSpPr txBox="1"/>
          <p:nvPr/>
        </p:nvSpPr>
        <p:spPr>
          <a:xfrm>
            <a:off x="4392703" y="1111000"/>
            <a:ext cx="217705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Member agencies </a:t>
            </a:r>
            <a:endParaRPr lang="en-US" b="1" dirty="0">
              <a:solidFill>
                <a:schemeClr val="tx2"/>
              </a:solidFill>
            </a:endParaRPr>
          </a:p>
        </p:txBody>
      </p:sp>
      <p:cxnSp>
        <p:nvCxnSpPr>
          <p:cNvPr id="20" name="Straight Arrow Connector 19"/>
          <p:cNvCxnSpPr/>
          <p:nvPr/>
        </p:nvCxnSpPr>
        <p:spPr bwMode="auto">
          <a:xfrm>
            <a:off x="4392703" y="1382622"/>
            <a:ext cx="2177051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Rectangle 14"/>
          <p:cNvSpPr txBox="1"/>
          <p:nvPr/>
        </p:nvSpPr>
        <p:spPr>
          <a:xfrm>
            <a:off x="1125132" y="1500566"/>
            <a:ext cx="2972680" cy="1800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marL="133350" lvl="1" indent="-131763">
              <a:spcBef>
                <a:spcPts val="600"/>
              </a:spcBef>
            </a:pPr>
            <a:r>
              <a:rPr lang="en-US" b="0" dirty="0" smtClean="0">
                <a:solidFill>
                  <a:schemeClr val="tx1"/>
                </a:solidFill>
              </a:rPr>
              <a:t>Provision of livelihood and emergency employment assistance to affected families</a:t>
            </a:r>
          </a:p>
          <a:p>
            <a:pPr marL="133350" lvl="1" indent="-131763">
              <a:spcBef>
                <a:spcPts val="600"/>
              </a:spcBef>
            </a:pPr>
            <a:r>
              <a:rPr lang="en-US" b="1" dirty="0">
                <a:solidFill>
                  <a:schemeClr val="tx1"/>
                </a:solidFill>
              </a:rPr>
              <a:t>C</a:t>
            </a:r>
            <a:r>
              <a:rPr lang="en-US" b="1" dirty="0" smtClean="0">
                <a:solidFill>
                  <a:schemeClr val="tx1"/>
                </a:solidFill>
              </a:rPr>
              <a:t>rop production and industry and trade services</a:t>
            </a:r>
            <a:r>
              <a:rPr lang="en-US" b="0" dirty="0" smtClean="0">
                <a:solidFill>
                  <a:schemeClr val="tx1"/>
                </a:solidFill>
              </a:rPr>
              <a:t>, forestry, fishery, and livestock &amp; poultry industries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1" name="Rectangle 14"/>
          <p:cNvSpPr txBox="1"/>
          <p:nvPr/>
        </p:nvSpPr>
        <p:spPr>
          <a:xfrm>
            <a:off x="1125132" y="3638458"/>
            <a:ext cx="2972680" cy="13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93675" indent="-192088" defTabSz="895350">
              <a:buSzPct val="125000"/>
              <a:buFont typeface="Arial" charset="0"/>
              <a:buChar char="▪"/>
              <a:defRPr sz="1600">
                <a:solidFill>
                  <a:srgbClr val="333333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marL="133350" lvl="1" indent="-131763">
              <a:spcBef>
                <a:spcPts val="600"/>
              </a:spcBef>
            </a:pPr>
            <a:r>
              <a:rPr lang="en-US" b="1" dirty="0" smtClean="0">
                <a:solidFill>
                  <a:schemeClr val="tx1"/>
                </a:solidFill>
              </a:rPr>
              <a:t>Consolidating the vetted cluster action plans</a:t>
            </a:r>
            <a:r>
              <a:rPr lang="en-US" b="0" dirty="0" smtClean="0">
                <a:solidFill>
                  <a:schemeClr val="tx1"/>
                </a:solidFill>
              </a:rPr>
              <a:t> </a:t>
            </a:r>
          </a:p>
          <a:p>
            <a:pPr marL="133350" lvl="1" indent="-131763">
              <a:spcBef>
                <a:spcPts val="600"/>
              </a:spcBef>
            </a:pPr>
            <a:r>
              <a:rPr lang="en-US" dirty="0" smtClean="0">
                <a:solidFill>
                  <a:schemeClr val="tx1"/>
                </a:solidFill>
              </a:rPr>
              <a:t>I</a:t>
            </a:r>
            <a:r>
              <a:rPr lang="en-US" b="0" dirty="0" smtClean="0">
                <a:solidFill>
                  <a:schemeClr val="tx1"/>
                </a:solidFill>
              </a:rPr>
              <a:t>dentification and provision of funding support to the major programs &amp; projects</a:t>
            </a:r>
            <a:endParaRPr lang="en-US" b="0" dirty="0">
              <a:solidFill>
                <a:schemeClr val="tx1"/>
              </a:solidFill>
            </a:endParaRPr>
          </a:p>
        </p:txBody>
      </p:sp>
      <p:cxnSp>
        <p:nvCxnSpPr>
          <p:cNvPr id="63" name="Straight Connector 62"/>
          <p:cNvCxnSpPr>
            <a:cxnSpLocks/>
          </p:cNvCxnSpPr>
          <p:nvPr/>
        </p:nvCxnSpPr>
        <p:spPr bwMode="gray">
          <a:xfrm flipH="1">
            <a:off x="1139092" y="3523600"/>
            <a:ext cx="54306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Rectangle 14"/>
          <p:cNvSpPr txBox="1">
            <a:spLocks/>
          </p:cNvSpPr>
          <p:nvPr/>
        </p:nvSpPr>
        <p:spPr>
          <a:xfrm>
            <a:off x="4392703" y="1500566"/>
            <a:ext cx="1102903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33350" lvl="1" indent="-131763" defTabSz="895350">
              <a:buSzPct val="125000"/>
              <a:buFont typeface="Arial" charset="0"/>
              <a:buChar char="▪"/>
              <a:defRPr sz="1000" b="0">
                <a:solidFill>
                  <a:schemeClr val="tx1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lvl="1"/>
            <a:r>
              <a:rPr lang="en-US" sz="1600" dirty="0" smtClean="0"/>
              <a:t>DTI</a:t>
            </a:r>
          </a:p>
          <a:p>
            <a:pPr lvl="1"/>
            <a:r>
              <a:rPr lang="en-US" sz="1600" dirty="0" smtClean="0"/>
              <a:t>DOLE</a:t>
            </a:r>
          </a:p>
          <a:p>
            <a:pPr lvl="1"/>
            <a:r>
              <a:rPr lang="en-US" sz="1600" dirty="0" smtClean="0"/>
              <a:t>DOT</a:t>
            </a:r>
          </a:p>
          <a:p>
            <a:pPr lvl="1"/>
            <a:r>
              <a:rPr lang="en-US" sz="1600" dirty="0" smtClean="0"/>
              <a:t>DA</a:t>
            </a:r>
          </a:p>
          <a:p>
            <a:pPr lvl="1"/>
            <a:r>
              <a:rPr lang="en-US" sz="1600" dirty="0" err="1" smtClean="0"/>
              <a:t>DENR</a:t>
            </a:r>
            <a:endParaRPr lang="en-US" sz="1600" dirty="0" smtClean="0"/>
          </a:p>
          <a:p>
            <a:pPr lvl="1"/>
            <a:r>
              <a:rPr lang="en-US" sz="1600" dirty="0" err="1" smtClean="0"/>
              <a:t>OCD</a:t>
            </a:r>
            <a:endParaRPr lang="en-US" sz="1600" dirty="0" smtClean="0"/>
          </a:p>
        </p:txBody>
      </p:sp>
      <p:sp>
        <p:nvSpPr>
          <p:cNvPr id="54" name="Rectangle 14"/>
          <p:cNvSpPr txBox="1">
            <a:spLocks/>
          </p:cNvSpPr>
          <p:nvPr/>
        </p:nvSpPr>
        <p:spPr>
          <a:xfrm>
            <a:off x="5580891" y="1500566"/>
            <a:ext cx="988863" cy="1969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33350" lvl="1" indent="-131763" defTabSz="895350">
              <a:buSzPct val="125000"/>
              <a:buFont typeface="Arial" charset="0"/>
              <a:buChar char="▪"/>
              <a:defRPr sz="1000" b="0">
                <a:solidFill>
                  <a:schemeClr val="tx1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lvl="1"/>
            <a:r>
              <a:rPr lang="en-US" sz="1600" dirty="0" smtClean="0"/>
              <a:t>DOST</a:t>
            </a:r>
          </a:p>
          <a:p>
            <a:pPr lvl="1"/>
            <a:r>
              <a:rPr lang="en-US" sz="1600" dirty="0" err="1" smtClean="0"/>
              <a:t>DSWD</a:t>
            </a:r>
            <a:endParaRPr lang="en-US" sz="1600" dirty="0" smtClean="0"/>
          </a:p>
          <a:p>
            <a:pPr lvl="1"/>
            <a:r>
              <a:rPr lang="en-US" sz="1600" dirty="0" err="1" smtClean="0"/>
              <a:t>HUDCC</a:t>
            </a:r>
            <a:endParaRPr lang="en-US" sz="1600" dirty="0" smtClean="0"/>
          </a:p>
          <a:p>
            <a:pPr lvl="1"/>
            <a:r>
              <a:rPr lang="en-US" sz="1600" dirty="0" err="1" smtClean="0"/>
              <a:t>NCIP</a:t>
            </a:r>
            <a:endParaRPr lang="en-US" sz="1600" dirty="0" smtClean="0"/>
          </a:p>
          <a:p>
            <a:pPr lvl="1"/>
            <a:r>
              <a:rPr lang="en-US" sz="1600" dirty="0" err="1" smtClean="0"/>
              <a:t>NHA</a:t>
            </a:r>
            <a:endParaRPr lang="en-US" sz="1600" dirty="0" smtClean="0"/>
          </a:p>
          <a:p>
            <a:pPr lvl="1"/>
            <a:r>
              <a:rPr lang="en-US" sz="1600" dirty="0" err="1" smtClean="0"/>
              <a:t>GFIs</a:t>
            </a:r>
            <a:r>
              <a:rPr lang="en-US" sz="1600" dirty="0" smtClean="0"/>
              <a:t> may be invited</a:t>
            </a:r>
          </a:p>
        </p:txBody>
      </p:sp>
      <p:sp>
        <p:nvSpPr>
          <p:cNvPr id="56" name="Rectangle 14"/>
          <p:cNvSpPr txBox="1">
            <a:spLocks/>
          </p:cNvSpPr>
          <p:nvPr/>
        </p:nvSpPr>
        <p:spPr>
          <a:xfrm>
            <a:off x="4392703" y="3635689"/>
            <a:ext cx="1102903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33350" lvl="1" indent="-131763" defTabSz="895350">
              <a:buSzPct val="125000"/>
              <a:buFont typeface="Arial" charset="0"/>
              <a:buChar char="▪"/>
              <a:defRPr sz="1000" b="0">
                <a:solidFill>
                  <a:schemeClr val="tx1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lvl="1"/>
            <a:r>
              <a:rPr lang="en-US" sz="1600" dirty="0" err="1" smtClean="0"/>
              <a:t>DBM</a:t>
            </a:r>
            <a:endParaRPr lang="en-US" sz="1600" dirty="0" smtClean="0"/>
          </a:p>
          <a:p>
            <a:pPr lvl="1"/>
            <a:r>
              <a:rPr lang="en-US" sz="1600" dirty="0" err="1" smtClean="0"/>
              <a:t>DFA</a:t>
            </a:r>
            <a:endParaRPr lang="en-US" sz="1600" dirty="0" smtClean="0"/>
          </a:p>
          <a:p>
            <a:pPr lvl="1"/>
            <a:r>
              <a:rPr lang="en-US" sz="1600" dirty="0" err="1" smtClean="0"/>
              <a:t>DoF</a:t>
            </a:r>
            <a:endParaRPr lang="en-US" sz="1600" dirty="0" smtClean="0"/>
          </a:p>
          <a:p>
            <a:pPr lvl="1"/>
            <a:r>
              <a:rPr lang="en-US" sz="1600" dirty="0" err="1" smtClean="0"/>
              <a:t>DoJ</a:t>
            </a:r>
            <a:endParaRPr lang="en-US" sz="1600" dirty="0" smtClean="0"/>
          </a:p>
          <a:p>
            <a:pPr lvl="1"/>
            <a:r>
              <a:rPr lang="en-US" sz="1600" dirty="0" err="1" smtClean="0"/>
              <a:t>DSWD</a:t>
            </a:r>
            <a:endParaRPr lang="en-US" sz="1600" dirty="0" smtClean="0"/>
          </a:p>
          <a:p>
            <a:pPr lvl="1"/>
            <a:r>
              <a:rPr lang="en-US" sz="1600" dirty="0" smtClean="0"/>
              <a:t>PMS</a:t>
            </a:r>
          </a:p>
        </p:txBody>
      </p:sp>
      <p:sp>
        <p:nvSpPr>
          <p:cNvPr id="57" name="Rectangle 14"/>
          <p:cNvSpPr txBox="1">
            <a:spLocks/>
          </p:cNvSpPr>
          <p:nvPr/>
        </p:nvSpPr>
        <p:spPr>
          <a:xfrm>
            <a:off x="5580891" y="3635689"/>
            <a:ext cx="1124709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lvl="0" defTabSz="895350">
              <a:defRPr sz="1600">
                <a:solidFill>
                  <a:srgbClr val="333333"/>
                </a:solidFill>
                <a:latin typeface="+mn-lt"/>
              </a:defRPr>
            </a:lvl1pPr>
            <a:lvl2pPr marL="133350" lvl="1" indent="-131763" defTabSz="895350">
              <a:buSzPct val="125000"/>
              <a:buFont typeface="Arial" charset="0"/>
              <a:buChar char="▪"/>
              <a:defRPr sz="1000" b="0">
                <a:solidFill>
                  <a:schemeClr val="tx1"/>
                </a:solidFill>
                <a:latin typeface="+mn-lt"/>
              </a:defRPr>
            </a:lvl2pPr>
            <a:lvl3pPr marL="457200" indent="-261938" defTabSz="895350">
              <a:buSzPct val="120000"/>
              <a:buFont typeface="Arial" charset="0"/>
              <a:buChar char="–"/>
              <a:defRPr sz="1600">
                <a:solidFill>
                  <a:srgbClr val="333333"/>
                </a:solidFill>
                <a:latin typeface="+mn-lt"/>
              </a:defRPr>
            </a:lvl3pPr>
            <a:lvl4pPr marL="614363" indent="-155575" defTabSz="895350">
              <a:buSzPct val="120000"/>
              <a:buFont typeface="Arial" charset="0"/>
              <a:buChar char="▫"/>
              <a:defRPr sz="1600">
                <a:solidFill>
                  <a:srgbClr val="333333"/>
                </a:solidFill>
                <a:latin typeface="+mn-lt"/>
              </a:defRPr>
            </a:lvl4pPr>
            <a:lvl5pPr marL="746125" indent="-130175" defTabSz="895350"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rgbClr val="333333"/>
                </a:solidFill>
                <a:latin typeface="+mn-lt"/>
              </a:defRPr>
            </a:lvl9pPr>
          </a:lstStyle>
          <a:p>
            <a:pPr lvl="1"/>
            <a:r>
              <a:rPr lang="en-US" sz="1600" dirty="0" err="1" smtClean="0"/>
              <a:t>NEDA</a:t>
            </a:r>
            <a:endParaRPr lang="en-US" sz="1600" dirty="0" smtClean="0"/>
          </a:p>
          <a:p>
            <a:pPr lvl="1"/>
            <a:r>
              <a:rPr lang="en-US" sz="1600" dirty="0" err="1" smtClean="0"/>
              <a:t>OCD</a:t>
            </a:r>
            <a:endParaRPr lang="en-US" sz="1600" dirty="0" smtClean="0"/>
          </a:p>
          <a:p>
            <a:pPr lvl="1"/>
            <a:r>
              <a:rPr lang="en-US" sz="1600" dirty="0" err="1" smtClean="0"/>
              <a:t>OPAPP</a:t>
            </a:r>
            <a:endParaRPr lang="en-US" sz="1600" dirty="0" smtClean="0"/>
          </a:p>
          <a:p>
            <a:pPr lvl="1"/>
            <a:r>
              <a:rPr lang="en-US" sz="1600" dirty="0" err="1" smtClean="0"/>
              <a:t>PCDSPO</a:t>
            </a:r>
            <a:endParaRPr lang="en-US" sz="1600" dirty="0" smtClean="0"/>
          </a:p>
          <a:p>
            <a:pPr lvl="1"/>
            <a:r>
              <a:rPr lang="en-US" sz="1600" dirty="0" err="1" smtClean="0"/>
              <a:t>PCOO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xmlns="" val="38088047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9jKdYnnEaWW7wwcYEnL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FJUFLBTk.QQmC70u8Pf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qy5oqs80i.kZvQgfocp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ilTSDa5UuAtT7lKLK00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4sqdx6MU6Cv5BcqnjVp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DyMH1oRU2nExN.7khq.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qcfoXy2EaEmhHYuut6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L0ge9QdU2wco2FeBPpt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6Xj94RE0qNxpnvBwsS8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_1NGJjvUih_2P0GahP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4Js5uQtUWEdN90.Ah88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DQ202euUaP4rK462Rlp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QMPIzliUm04RQMB7oQX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vHJ_GquEaIS9Ww7n0B_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5jjgj8u0SEgbBRajX5h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UrbeOnTkmSuDjxLLD4m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Zsmin35kCAlk6.zzide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Q4e4A2E.8VyNcWwy1j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zou.j7G0SWL3BR2emf4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_IZY1gX0OVaul0aQAM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f.L5AhEuN5YqmtPGWk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yHjuhQBUK9X7Piym347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aC6ldHg0GkvZInvi2Yj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hAnSzEqEOa_qi4CsRDG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PhX5rtEWb30dBL5YSD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heEOQ8gEqlT4nGuQEZS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icFgdk8kKbnw.qVpeTW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3qlze1pEWRmwd1s.AUZ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7jQEEweEupxj2o_DZNg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TVfSOH6EqCAplqIT8.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DufZZYL02QD0IaopCz4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XdLfBCpk6sx2DfTeAsR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Q.NBNzpE6C8518VsrVO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96ulwYSUu5wZkR6JaMF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yay1bVIkSeDa62Ht.Q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7vThnVkiyIftHlwc8I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OcTHdi0y66vNnY9Pnu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f7fpEJUGRfLPVVQ.J9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OBElzn7EWDKSEQFA0yb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Bt1.GbREiOM9rXGupD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yROvD7z0S2KyhH2Kd8a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9Ngr6260qGXzPJtf7VB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mO.xXJ2kWhn2bnIfGUj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XKooBP8k27EuT_3sXjU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elh_hLuUWoSoJs2nrQH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ynzNCfxUmFmNtjNxENo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pUg4rm.UeRTXEm1QzW5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iBCLhCeE6D3TDktnLHh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RZtIff7kCJBokln6x_h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vYvVMrsU2CLji_z8OM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PVZ49EOE.3XATIeeV4.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Q0WnQRUm2bFLXICjNM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Mo5K1B.U2ikbuutInOr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04aBVU8kKRuq57LbbSZ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0HZzYLp0yPEb08vKm4c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WVJhjs6EaRQe2RybsgQ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D43AIAUi5B6nXK.OgT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O_CrdU6GxJCcEgG8q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_zav__z0aUeNTuDeEZ4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2H96J.0yXP9KbMRZw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PVZ49EOE.3XATIeeV4.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oG9i.x1kOTc8iv0B_2b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Q8wegZ6Ei67JWBg1xyV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Z81b88OkSlMP3M8c.Qk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Q8wegZ6Ei67JWBg1xyV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Z81b88OkSlMP3M8c.Q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MQ32Rc_UmpONRnm86g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l7yyE3uEumA9ymXgbO1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XPT4ZQ06BaT_U50CR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Riz9ZwpEGvW3a.tqRM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T5oM.opEOb2KlQS34Mb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pFIe5ZdkiKDQGs3bqaU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fwYz0PC0G1bfx5q2BF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Cb116Mp0uvIKYEswhQ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PqBxwPFEmXNDjrasbf9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ZwFWDsg0yA0cgq84GVb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HAWMIHaUWo2N3XZsFvK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YHz6_.oEKAlIegqlvI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o.9Qg77E23CSjJUXtr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viTMTlfUyGHGeu8mPS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KcUQElxEa6yWxacPez8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V25JhxwEWGgOjhFjdH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23CXOj4EKZ97c_3BM3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YmRaTzVUSVw.qI3el1Z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3xRM6_qkOB5_ksykLE8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Hv9m98xEWt.kLEanLx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fspy7YSkmpy8gQ141k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OEmAARg0m6cb08l0qi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dqk6DXrUCTUlup.IBic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k2cm_lakWlIXnjOTlb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dJkOJoXkindl6oaDp4S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2kCjr6PEKv9ymvGVjot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XNz6kLzkeT1zkmhh8E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IEVYgFsk2WUPPnViEyh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.HsgGk20OBm4AGWiNP.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0xFTamCE2y1wVre4J2z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6mSaXCmU2RMTaj96lyP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C.Oyirz0atUSymQpSOc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7SPySI9EyBHmgvr2hY9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HU.rA_skaiwljmIO04o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x1ao.rHEiM2Q5ovLt7O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u3FarfIE6kgDucVA2xN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VhxnXugk20uj6o31Dn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HHS_0PxUu4iee8t2a_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bjhAi.vkC7FAHE5jzT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9_AKZflUm0ucXIcoUn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9dJ82F_U.DdS8YuvRm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j_BzdOVUeeFH6n9zKc_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5PoF.ZlU2yhSh3I614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5gtCSnzEa6agW_5wOnS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r_K5Nj2U6MVPtzDCei3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N8xfcAYke0CPg3M_cK1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BCyO8VF0eOdqNiy96Y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gF1BDtSkmu24JcB39K4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5FHbzW0SVI8hZzUPpe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bNPQ0PEmSM6OJvT9s_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6pyZfRDE6mwbEFsLUix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t3.3EZC02fJWHUbmfbu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0JWWJOh0i9wlUf.aMEb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y8XApldU.orxrcrwvWF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HSCi3atUmiVY7ea3bqS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NhVBcgv0eyXzDZ9odwW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RLFEWwoEuU9Q0veCnI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C2YGEQyEqz4Ut1FtlZ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FxG.738UOn2AvUAuamu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W7JyEf3UigcBbx6GdyJ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42_ejO6UGCfe1ufl7m.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h4KEoqCU60eImWPF9RV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SOkMOtu02UrHHKxChau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IFf8fYk.JHWoFyWrQ5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KhRJbPiUO7cgrOPEkFO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rE4ZEd70iA3WMDbetP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GjT4I2uEWHxmAyC10nmg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ARR_CF_PH0088">
  <a:themeElements>
    <a:clrScheme name="Current">
      <a:dk1>
        <a:srgbClr val="000000"/>
      </a:dk1>
      <a:lt1>
        <a:srgbClr val="FFFFFF"/>
      </a:lt1>
      <a:dk2>
        <a:srgbClr val="060A6D"/>
      </a:dk2>
      <a:lt2>
        <a:srgbClr val="CCCCCC"/>
      </a:lt2>
      <a:accent1>
        <a:srgbClr val="D5D6E6"/>
      </a:accent1>
      <a:accent2>
        <a:srgbClr val="8587B7"/>
      </a:accent2>
      <a:accent3>
        <a:srgbClr val="060A6D"/>
      </a:accent3>
      <a:accent4>
        <a:srgbClr val="EAAE2A"/>
      </a:accent4>
      <a:accent5>
        <a:srgbClr val="FF6600"/>
      </a:accent5>
      <a:accent6>
        <a:srgbClr val="808080"/>
      </a:accent6>
      <a:hlink>
        <a:srgbClr val="060A6D"/>
      </a:hlink>
      <a:folHlink>
        <a:srgbClr val="EAAE2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60A6D"/>
        </a:dk2>
        <a:lt2>
          <a:srgbClr val="CCCCCC"/>
        </a:lt2>
        <a:accent1>
          <a:srgbClr val="D5D6E6"/>
        </a:accent1>
        <a:accent2>
          <a:srgbClr val="8587B7"/>
        </a:accent2>
        <a:accent3>
          <a:srgbClr val="060A6D"/>
        </a:accent3>
        <a:accent4>
          <a:srgbClr val="EAAE2A"/>
        </a:accent4>
        <a:accent5>
          <a:srgbClr val="FF6600"/>
        </a:accent5>
        <a:accent6>
          <a:srgbClr val="808080"/>
        </a:accent6>
        <a:hlink>
          <a:srgbClr val="060A6D"/>
        </a:hlink>
        <a:folHlink>
          <a:srgbClr val="EAAE2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5</TotalTime>
  <Words>833</Words>
  <Application>Microsoft Office PowerPoint</Application>
  <PresentationFormat>Custom</PresentationFormat>
  <Paragraphs>232</Paragraphs>
  <Slides>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Blank</vt:lpstr>
      <vt:lpstr>PARR_CF_PH0088</vt:lpstr>
      <vt:lpstr>think-cell Slide</vt:lpstr>
      <vt:lpstr>Chart</vt:lpstr>
      <vt:lpstr>Office of the Presidential Assistant for Rehabilitation and Recovery</vt:lpstr>
      <vt:lpstr>Typhoon Yolanda left a trail of destruction across Central Philippines</vt:lpstr>
      <vt:lpstr>Initial estimates from RAY show that rehabilitation will be an unprecedented challenge – requiring the support of all stakeholders</vt:lpstr>
      <vt:lpstr>MO No. 62 establishes PARR to manage and coordinate rehabilitation, recovery and reconstruction efforts</vt:lpstr>
      <vt:lpstr>Slide 4</vt:lpstr>
      <vt:lpstr>OPARR is forming clusters to facilitate the consolidation of the plans and programs of the various stakeholders (1/2)</vt:lpstr>
      <vt:lpstr>OPARR is forming clusters to facilitate the consolidation of the plans and programs of the various stakeholders (2/2)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aster risk management in the Philippines</dc:title>
  <dc:creator>Martin Sorensen</dc:creator>
  <cp:lastModifiedBy>trwo</cp:lastModifiedBy>
  <cp:revision>31</cp:revision>
  <cp:lastPrinted>2008-09-19T11:06:26Z</cp:lastPrinted>
  <dcterms:created xsi:type="dcterms:W3CDTF">2014-03-11T07:00:03Z</dcterms:created>
  <dcterms:modified xsi:type="dcterms:W3CDTF">2014-03-11T10:3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